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Override1.xml" ContentType="application/vnd.openxmlformats-officedocument.themeOverride+xml"/>
  <Override PartName="/ppt/tags/tag2.xml" ContentType="application/vnd.openxmlformats-officedocument.presentationml.tags+xml"/>
  <Override PartName="/ppt/theme/themeOverride2.xml" ContentType="application/vnd.openxmlformats-officedocument.themeOverrid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6"/>
  </p:notesMasterIdLst>
  <p:handoutMasterIdLst>
    <p:handoutMasterId r:id="rId7"/>
  </p:handoutMasterIdLst>
  <p:sldIdLst>
    <p:sldId id="256" r:id="rId2"/>
    <p:sldId id="269" r:id="rId3"/>
    <p:sldId id="278" r:id="rId4"/>
    <p:sldId id="279" r:id="rId5"/>
  </p:sldIdLst>
  <p:sldSz cx="12192000" cy="6858000"/>
  <p:notesSz cx="6858000" cy="9144000"/>
  <p:custDataLst>
    <p:tags r:id="rId8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637B36"/>
    <a:srgbClr val="EE2020"/>
    <a:srgbClr val="006C31"/>
    <a:srgbClr val="F11C4D"/>
    <a:srgbClr val="4365B2"/>
    <a:srgbClr val="C2D0DD"/>
    <a:srgbClr val="A20000"/>
    <a:srgbClr val="A40000"/>
    <a:srgbClr val="9E0000"/>
    <a:srgbClr val="C7450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6182" autoAdjust="0"/>
  </p:normalViewPr>
  <p:slideViewPr>
    <p:cSldViewPr snapToGrid="0">
      <p:cViewPr>
        <p:scale>
          <a:sx n="83" d="100"/>
          <a:sy n="83" d="100"/>
        </p:scale>
        <p:origin x="418" y="91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200" d="100"/>
        <a:sy n="200" d="100"/>
      </p:scale>
      <p:origin x="0" y="0"/>
    </p:cViewPr>
  </p:sorterViewPr>
  <p:notesViewPr>
    <p:cSldViewPr snapToGrid="0" showGuides="1">
      <p:cViewPr varScale="1">
        <p:scale>
          <a:sx n="80" d="100"/>
          <a:sy n="80" d="100"/>
        </p:scale>
        <p:origin x="3204" y="9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3" Type="http://schemas.openxmlformats.org/officeDocument/2006/relationships/slide" Target="slides/slide2.xml"/><Relationship Id="rId7" Type="http://schemas.openxmlformats.org/officeDocument/2006/relationships/handoutMaster" Target="handoutMasters/handoutMaster1.xml"/><Relationship Id="rId12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notesMaster" Target="notesMasters/notesMaster1.xml"/><Relationship Id="rId11" Type="http://schemas.openxmlformats.org/officeDocument/2006/relationships/theme" Target="theme/theme1.xml"/><Relationship Id="rId5" Type="http://schemas.openxmlformats.org/officeDocument/2006/relationships/slide" Target="slides/slide4.xml"/><Relationship Id="rId10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>
            <a:extLst>
              <a:ext uri="{FF2B5EF4-FFF2-40B4-BE49-F238E27FC236}">
                <a16:creationId xmlns:a16="http://schemas.microsoft.com/office/drawing/2014/main" id="{B9A56829-66AA-42AA-918E-5C6DB1AE50A7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>
            <a:extLst>
              <a:ext uri="{FF2B5EF4-FFF2-40B4-BE49-F238E27FC236}">
                <a16:creationId xmlns:a16="http://schemas.microsoft.com/office/drawing/2014/main" id="{241084A9-BC5C-4420-B17C-51E328D45576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478E0E4-DC06-4041-AFA7-BB6F527FFA3F}" type="datetimeFigureOut">
              <a:rPr lang="zh-CN" altLang="en-US" smtClean="0"/>
              <a:t>2021/9/25</a:t>
            </a:fld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0D6F2124-7B35-4E59-B9E8-DB09EE1408A4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F2BF8FFE-D997-4E34-9A01-CD2014B95241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14B7432-8BB0-4EFA-A417-EFCDC17B2811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08155388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86D8963-CFCD-4740-AF60-049850373CDF}" type="datetimeFigureOut">
              <a:rPr lang="zh-CN" altLang="en-US" smtClean="0"/>
              <a:t>2021/9/25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9E6FDB6-6D2B-46C1-9FA1-D82906A37C3A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18498155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 userDrawn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îṣľíḋe">
            <a:extLst>
              <a:ext uri="{FF2B5EF4-FFF2-40B4-BE49-F238E27FC236}">
                <a16:creationId xmlns:a16="http://schemas.microsoft.com/office/drawing/2014/main" id="{D4FDA7A2-77CF-4B98-9622-C3E92A960534}"/>
              </a:ext>
            </a:extLst>
          </p:cNvPr>
          <p:cNvSpPr/>
          <p:nvPr userDrawn="1"/>
        </p:nvSpPr>
        <p:spPr>
          <a:xfrm>
            <a:off x="-105765" y="-72455"/>
            <a:ext cx="12315407" cy="6948713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800"/>
          </a:p>
        </p:txBody>
      </p:sp>
      <p:grpSp>
        <p:nvGrpSpPr>
          <p:cNvPr id="7" name="图形 5">
            <a:extLst>
              <a:ext uri="{FF2B5EF4-FFF2-40B4-BE49-F238E27FC236}">
                <a16:creationId xmlns:a16="http://schemas.microsoft.com/office/drawing/2014/main" id="{1CB92305-700F-4082-B0F1-C74E2A95FD58}"/>
              </a:ext>
            </a:extLst>
          </p:cNvPr>
          <p:cNvGrpSpPr/>
          <p:nvPr userDrawn="1"/>
        </p:nvGrpSpPr>
        <p:grpSpPr>
          <a:xfrm rot="959700">
            <a:off x="4395717" y="4320776"/>
            <a:ext cx="3108147" cy="3599184"/>
            <a:chOff x="5134072" y="3698189"/>
            <a:chExt cx="2064918" cy="2391142"/>
          </a:xfrm>
          <a:solidFill>
            <a:schemeClr val="accent1"/>
          </a:solidFill>
        </p:grpSpPr>
        <p:sp>
          <p:nvSpPr>
            <p:cNvPr id="8" name="ïŝ1îḓê">
              <a:extLst>
                <a:ext uri="{FF2B5EF4-FFF2-40B4-BE49-F238E27FC236}">
                  <a16:creationId xmlns:a16="http://schemas.microsoft.com/office/drawing/2014/main" id="{11C971F8-DE36-48B5-AD05-D9564E2AE895}"/>
                </a:ext>
              </a:extLst>
            </p:cNvPr>
            <p:cNvSpPr/>
            <p:nvPr/>
          </p:nvSpPr>
          <p:spPr>
            <a:xfrm>
              <a:off x="5202364" y="4139755"/>
              <a:ext cx="1949577" cy="1949576"/>
            </a:xfrm>
            <a:custGeom>
              <a:avLst/>
              <a:gdLst>
                <a:gd name="connsiteX0" fmla="*/ 1949577 w 1949577"/>
                <a:gd name="connsiteY0" fmla="*/ 974788 h 1949576"/>
                <a:gd name="connsiteX1" fmla="*/ 974788 w 1949577"/>
                <a:gd name="connsiteY1" fmla="*/ 1949577 h 1949576"/>
                <a:gd name="connsiteX2" fmla="*/ 0 w 1949577"/>
                <a:gd name="connsiteY2" fmla="*/ 974788 h 1949576"/>
                <a:gd name="connsiteX3" fmla="*/ 974788 w 1949577"/>
                <a:gd name="connsiteY3" fmla="*/ 0 h 1949576"/>
                <a:gd name="connsiteX4" fmla="*/ 1949577 w 1949577"/>
                <a:gd name="connsiteY4" fmla="*/ 974788 h 19495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49577" h="1949576">
                  <a:moveTo>
                    <a:pt x="1949577" y="974788"/>
                  </a:moveTo>
                  <a:cubicBezTo>
                    <a:pt x="1949577" y="1513150"/>
                    <a:pt x="1513149" y="1949577"/>
                    <a:pt x="974788" y="1949577"/>
                  </a:cubicBezTo>
                  <a:cubicBezTo>
                    <a:pt x="436428" y="1949577"/>
                    <a:pt x="0" y="1513150"/>
                    <a:pt x="0" y="974788"/>
                  </a:cubicBezTo>
                  <a:cubicBezTo>
                    <a:pt x="0" y="436428"/>
                    <a:pt x="436428" y="0"/>
                    <a:pt x="974788" y="0"/>
                  </a:cubicBezTo>
                  <a:cubicBezTo>
                    <a:pt x="1513149" y="0"/>
                    <a:pt x="1949577" y="436428"/>
                    <a:pt x="1949577" y="974788"/>
                  </a:cubicBezTo>
                  <a:close/>
                </a:path>
              </a:pathLst>
            </a:custGeom>
            <a:solidFill>
              <a:srgbClr val="88A54A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 sz="1800"/>
            </a:p>
          </p:txBody>
        </p:sp>
        <p:sp>
          <p:nvSpPr>
            <p:cNvPr id="9" name="íṧļíḑê">
              <a:extLst>
                <a:ext uri="{FF2B5EF4-FFF2-40B4-BE49-F238E27FC236}">
                  <a16:creationId xmlns:a16="http://schemas.microsoft.com/office/drawing/2014/main" id="{5B02F588-47A8-490D-8B2D-B70356AA68FE}"/>
                </a:ext>
              </a:extLst>
            </p:cNvPr>
            <p:cNvSpPr/>
            <p:nvPr/>
          </p:nvSpPr>
          <p:spPr>
            <a:xfrm>
              <a:off x="5134072" y="4207573"/>
              <a:ext cx="299748" cy="514254"/>
            </a:xfrm>
            <a:custGeom>
              <a:avLst/>
              <a:gdLst>
                <a:gd name="connsiteX0" fmla="*/ 119155 w 299748"/>
                <a:gd name="connsiteY0" fmla="*/ 0 h 514254"/>
                <a:gd name="connsiteX1" fmla="*/ 12284 w 299748"/>
                <a:gd name="connsiteY1" fmla="*/ 414147 h 514254"/>
                <a:gd name="connsiteX2" fmla="*/ 12380 w 299748"/>
                <a:gd name="connsiteY2" fmla="*/ 414147 h 514254"/>
                <a:gd name="connsiteX3" fmla="*/ 152111 w 299748"/>
                <a:gd name="connsiteY3" fmla="*/ 514255 h 514254"/>
                <a:gd name="connsiteX4" fmla="*/ 299749 w 299748"/>
                <a:gd name="connsiteY4" fmla="*/ 366617 h 514254"/>
                <a:gd name="connsiteX5" fmla="*/ 119155 w 299748"/>
                <a:gd name="connsiteY5" fmla="*/ 0 h 5142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99748" h="514254">
                  <a:moveTo>
                    <a:pt x="119155" y="0"/>
                  </a:moveTo>
                  <a:cubicBezTo>
                    <a:pt x="-53438" y="193167"/>
                    <a:pt x="12284" y="414147"/>
                    <a:pt x="12284" y="414147"/>
                  </a:cubicBezTo>
                  <a:lnTo>
                    <a:pt x="12380" y="414147"/>
                  </a:lnTo>
                  <a:cubicBezTo>
                    <a:pt x="32192" y="472345"/>
                    <a:pt x="87151" y="514255"/>
                    <a:pt x="152111" y="514255"/>
                  </a:cubicBezTo>
                  <a:cubicBezTo>
                    <a:pt x="233645" y="514255"/>
                    <a:pt x="299749" y="448151"/>
                    <a:pt x="299749" y="366617"/>
                  </a:cubicBezTo>
                  <a:cubicBezTo>
                    <a:pt x="299749" y="347186"/>
                    <a:pt x="119155" y="0"/>
                    <a:pt x="119155" y="0"/>
                  </a:cubicBezTo>
                  <a:close/>
                </a:path>
              </a:pathLst>
            </a:custGeom>
            <a:solidFill>
              <a:srgbClr val="E7BB9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 sz="1800"/>
            </a:p>
          </p:txBody>
        </p:sp>
        <p:sp>
          <p:nvSpPr>
            <p:cNvPr id="10" name="ïşḷíḍê">
              <a:extLst>
                <a:ext uri="{FF2B5EF4-FFF2-40B4-BE49-F238E27FC236}">
                  <a16:creationId xmlns:a16="http://schemas.microsoft.com/office/drawing/2014/main" id="{ECC85A15-E152-4950-9C71-578B00C8B7F6}"/>
                </a:ext>
              </a:extLst>
            </p:cNvPr>
            <p:cNvSpPr/>
            <p:nvPr/>
          </p:nvSpPr>
          <p:spPr>
            <a:xfrm>
              <a:off x="5248369" y="4311967"/>
              <a:ext cx="107026" cy="364140"/>
            </a:xfrm>
            <a:custGeom>
              <a:avLst/>
              <a:gdLst>
                <a:gd name="connsiteX0" fmla="*/ 66675 w 107026"/>
                <a:gd name="connsiteY0" fmla="*/ 364141 h 364140"/>
                <a:gd name="connsiteX1" fmla="*/ 55054 w 107026"/>
                <a:gd name="connsiteY1" fmla="*/ 348996 h 364140"/>
                <a:gd name="connsiteX2" fmla="*/ 0 w 107026"/>
                <a:gd name="connsiteY2" fmla="*/ 9715 h 364140"/>
                <a:gd name="connsiteX3" fmla="*/ 16383 w 107026"/>
                <a:gd name="connsiteY3" fmla="*/ 0 h 364140"/>
                <a:gd name="connsiteX4" fmla="*/ 66675 w 107026"/>
                <a:gd name="connsiteY4" fmla="*/ 364141 h 3641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7026" h="364140">
                  <a:moveTo>
                    <a:pt x="66675" y="364141"/>
                  </a:moveTo>
                  <a:lnTo>
                    <a:pt x="55054" y="348996"/>
                  </a:lnTo>
                  <a:cubicBezTo>
                    <a:pt x="153543" y="273272"/>
                    <a:pt x="1524" y="12287"/>
                    <a:pt x="0" y="9715"/>
                  </a:cubicBezTo>
                  <a:lnTo>
                    <a:pt x="16383" y="0"/>
                  </a:lnTo>
                  <a:cubicBezTo>
                    <a:pt x="23146" y="11430"/>
                    <a:pt x="178498" y="278225"/>
                    <a:pt x="66675" y="364141"/>
                  </a:cubicBezTo>
                  <a:close/>
                </a:path>
              </a:pathLst>
            </a:custGeom>
            <a:solidFill>
              <a:srgbClr val="D4927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 sz="1800"/>
            </a:p>
          </p:txBody>
        </p:sp>
        <p:sp>
          <p:nvSpPr>
            <p:cNvPr id="11" name="îṧľíḍé">
              <a:extLst>
                <a:ext uri="{FF2B5EF4-FFF2-40B4-BE49-F238E27FC236}">
                  <a16:creationId xmlns:a16="http://schemas.microsoft.com/office/drawing/2014/main" id="{C200154C-ED93-4DDD-BCFE-C5F6173BC2BF}"/>
                </a:ext>
              </a:extLst>
            </p:cNvPr>
            <p:cNvSpPr/>
            <p:nvPr/>
          </p:nvSpPr>
          <p:spPr>
            <a:xfrm>
              <a:off x="5258275" y="4455794"/>
              <a:ext cx="87630" cy="172593"/>
            </a:xfrm>
            <a:custGeom>
              <a:avLst/>
              <a:gdLst>
                <a:gd name="connsiteX0" fmla="*/ 77153 w 87630"/>
                <a:gd name="connsiteY0" fmla="*/ 172593 h 172593"/>
                <a:gd name="connsiteX1" fmla="*/ 286 w 87630"/>
                <a:gd name="connsiteY1" fmla="*/ 68294 h 172593"/>
                <a:gd name="connsiteX2" fmla="*/ 61913 w 87630"/>
                <a:gd name="connsiteY2" fmla="*/ 0 h 172593"/>
                <a:gd name="connsiteX3" fmla="*/ 69057 w 87630"/>
                <a:gd name="connsiteY3" fmla="*/ 17621 h 172593"/>
                <a:gd name="connsiteX4" fmla="*/ 19241 w 87630"/>
                <a:gd name="connsiteY4" fmla="*/ 70199 h 172593"/>
                <a:gd name="connsiteX5" fmla="*/ 87630 w 87630"/>
                <a:gd name="connsiteY5" fmla="*/ 156591 h 172593"/>
                <a:gd name="connsiteX6" fmla="*/ 77153 w 87630"/>
                <a:gd name="connsiteY6" fmla="*/ 172593 h 1725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7630" h="172593">
                  <a:moveTo>
                    <a:pt x="77153" y="172593"/>
                  </a:moveTo>
                  <a:cubicBezTo>
                    <a:pt x="22765" y="136875"/>
                    <a:pt x="-3047" y="101822"/>
                    <a:pt x="286" y="68294"/>
                  </a:cubicBezTo>
                  <a:cubicBezTo>
                    <a:pt x="4763" y="23527"/>
                    <a:pt x="59532" y="953"/>
                    <a:pt x="61913" y="0"/>
                  </a:cubicBezTo>
                  <a:lnTo>
                    <a:pt x="69057" y="17621"/>
                  </a:lnTo>
                  <a:cubicBezTo>
                    <a:pt x="68580" y="17812"/>
                    <a:pt x="22575" y="36862"/>
                    <a:pt x="19241" y="70199"/>
                  </a:cubicBezTo>
                  <a:cubicBezTo>
                    <a:pt x="16764" y="95631"/>
                    <a:pt x="40387" y="125540"/>
                    <a:pt x="87630" y="156591"/>
                  </a:cubicBezTo>
                  <a:lnTo>
                    <a:pt x="77153" y="172593"/>
                  </a:lnTo>
                  <a:close/>
                </a:path>
              </a:pathLst>
            </a:custGeom>
            <a:solidFill>
              <a:srgbClr val="D4927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 sz="1800"/>
            </a:p>
          </p:txBody>
        </p:sp>
        <p:grpSp>
          <p:nvGrpSpPr>
            <p:cNvPr id="14" name="图形 5">
              <a:extLst>
                <a:ext uri="{FF2B5EF4-FFF2-40B4-BE49-F238E27FC236}">
                  <a16:creationId xmlns:a16="http://schemas.microsoft.com/office/drawing/2014/main" id="{B5A23EF2-C3B5-4E42-B460-30C5B483159C}"/>
                </a:ext>
              </a:extLst>
            </p:cNvPr>
            <p:cNvGrpSpPr/>
            <p:nvPr/>
          </p:nvGrpSpPr>
          <p:grpSpPr>
            <a:xfrm>
              <a:off x="6899242" y="4207573"/>
              <a:ext cx="299748" cy="514254"/>
              <a:chOff x="6899242" y="4207573"/>
              <a:chExt cx="299748" cy="514254"/>
            </a:xfrm>
            <a:solidFill>
              <a:schemeClr val="accent1"/>
            </a:solidFill>
          </p:grpSpPr>
          <p:sp>
            <p:nvSpPr>
              <p:cNvPr id="37" name="iŝḻídé">
                <a:extLst>
                  <a:ext uri="{FF2B5EF4-FFF2-40B4-BE49-F238E27FC236}">
                    <a16:creationId xmlns:a16="http://schemas.microsoft.com/office/drawing/2014/main" id="{D692BB3E-FB2E-47F0-A0E8-83B06EC15A9F}"/>
                  </a:ext>
                </a:extLst>
              </p:cNvPr>
              <p:cNvSpPr/>
              <p:nvPr/>
            </p:nvSpPr>
            <p:spPr>
              <a:xfrm>
                <a:off x="6899242" y="4207573"/>
                <a:ext cx="299748" cy="514254"/>
              </a:xfrm>
              <a:custGeom>
                <a:avLst/>
                <a:gdLst>
                  <a:gd name="connsiteX0" fmla="*/ 180594 w 299748"/>
                  <a:gd name="connsiteY0" fmla="*/ 0 h 514254"/>
                  <a:gd name="connsiteX1" fmla="*/ 287465 w 299748"/>
                  <a:gd name="connsiteY1" fmla="*/ 414147 h 514254"/>
                  <a:gd name="connsiteX2" fmla="*/ 287369 w 299748"/>
                  <a:gd name="connsiteY2" fmla="*/ 414147 h 514254"/>
                  <a:gd name="connsiteX3" fmla="*/ 147638 w 299748"/>
                  <a:gd name="connsiteY3" fmla="*/ 514255 h 514254"/>
                  <a:gd name="connsiteX4" fmla="*/ 0 w 299748"/>
                  <a:gd name="connsiteY4" fmla="*/ 366617 h 514254"/>
                  <a:gd name="connsiteX5" fmla="*/ 180594 w 299748"/>
                  <a:gd name="connsiteY5" fmla="*/ 0 h 5142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99748" h="514254">
                    <a:moveTo>
                      <a:pt x="180594" y="0"/>
                    </a:moveTo>
                    <a:cubicBezTo>
                      <a:pt x="353187" y="193167"/>
                      <a:pt x="287465" y="414147"/>
                      <a:pt x="287465" y="414147"/>
                    </a:cubicBezTo>
                    <a:lnTo>
                      <a:pt x="287369" y="414147"/>
                    </a:lnTo>
                    <a:cubicBezTo>
                      <a:pt x="267558" y="472345"/>
                      <a:pt x="212598" y="514255"/>
                      <a:pt x="147638" y="514255"/>
                    </a:cubicBezTo>
                    <a:cubicBezTo>
                      <a:pt x="66104" y="514255"/>
                      <a:pt x="0" y="448151"/>
                      <a:pt x="0" y="366617"/>
                    </a:cubicBezTo>
                    <a:cubicBezTo>
                      <a:pt x="0" y="347186"/>
                      <a:pt x="180594" y="0"/>
                      <a:pt x="180594" y="0"/>
                    </a:cubicBezTo>
                    <a:close/>
                  </a:path>
                </a:pathLst>
              </a:custGeom>
              <a:solidFill>
                <a:srgbClr val="E7BB9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 sz="1800"/>
              </a:p>
            </p:txBody>
          </p:sp>
          <p:sp>
            <p:nvSpPr>
              <p:cNvPr id="38" name="íśľîḑé">
                <a:extLst>
                  <a:ext uri="{FF2B5EF4-FFF2-40B4-BE49-F238E27FC236}">
                    <a16:creationId xmlns:a16="http://schemas.microsoft.com/office/drawing/2014/main" id="{E5B15E61-0E4C-4FC8-8E32-FB86909D809F}"/>
                  </a:ext>
                </a:extLst>
              </p:cNvPr>
              <p:cNvSpPr/>
              <p:nvPr/>
            </p:nvSpPr>
            <p:spPr>
              <a:xfrm>
                <a:off x="6977682" y="4312062"/>
                <a:ext cx="107011" cy="364045"/>
              </a:xfrm>
              <a:custGeom>
                <a:avLst/>
                <a:gdLst>
                  <a:gd name="connsiteX0" fmla="*/ 40337 w 107011"/>
                  <a:gd name="connsiteY0" fmla="*/ 364046 h 364045"/>
                  <a:gd name="connsiteX1" fmla="*/ 90629 w 107011"/>
                  <a:gd name="connsiteY1" fmla="*/ 0 h 364045"/>
                  <a:gd name="connsiteX2" fmla="*/ 107012 w 107011"/>
                  <a:gd name="connsiteY2" fmla="*/ 9716 h 364045"/>
                  <a:gd name="connsiteX3" fmla="*/ 51957 w 107011"/>
                  <a:gd name="connsiteY3" fmla="*/ 348996 h 364045"/>
                  <a:gd name="connsiteX4" fmla="*/ 40337 w 107011"/>
                  <a:gd name="connsiteY4" fmla="*/ 364046 h 3640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07011" h="364045">
                    <a:moveTo>
                      <a:pt x="40337" y="364046"/>
                    </a:moveTo>
                    <a:cubicBezTo>
                      <a:pt x="-71487" y="278130"/>
                      <a:pt x="83961" y="11335"/>
                      <a:pt x="90629" y="0"/>
                    </a:cubicBezTo>
                    <a:lnTo>
                      <a:pt x="107012" y="9716"/>
                    </a:lnTo>
                    <a:cubicBezTo>
                      <a:pt x="105488" y="12383"/>
                      <a:pt x="-46531" y="273272"/>
                      <a:pt x="51957" y="348996"/>
                    </a:cubicBezTo>
                    <a:lnTo>
                      <a:pt x="40337" y="364046"/>
                    </a:lnTo>
                    <a:close/>
                  </a:path>
                </a:pathLst>
              </a:custGeom>
              <a:solidFill>
                <a:srgbClr val="D4927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 sz="1800"/>
              </a:p>
            </p:txBody>
          </p:sp>
          <p:sp>
            <p:nvSpPr>
              <p:cNvPr id="39" name="íšḷïḑé">
                <a:extLst>
                  <a:ext uri="{FF2B5EF4-FFF2-40B4-BE49-F238E27FC236}">
                    <a16:creationId xmlns:a16="http://schemas.microsoft.com/office/drawing/2014/main" id="{018D9A01-4853-451D-80DC-3B5BA05742EE}"/>
                  </a:ext>
                </a:extLst>
              </p:cNvPr>
              <p:cNvSpPr/>
              <p:nvPr/>
            </p:nvSpPr>
            <p:spPr>
              <a:xfrm>
                <a:off x="6987158" y="4455890"/>
                <a:ext cx="87630" cy="172497"/>
              </a:xfrm>
              <a:custGeom>
                <a:avLst/>
                <a:gdLst>
                  <a:gd name="connsiteX0" fmla="*/ 10478 w 87630"/>
                  <a:gd name="connsiteY0" fmla="*/ 172498 h 172497"/>
                  <a:gd name="connsiteX1" fmla="*/ 0 w 87630"/>
                  <a:gd name="connsiteY1" fmla="*/ 156591 h 172497"/>
                  <a:gd name="connsiteX2" fmla="*/ 68389 w 87630"/>
                  <a:gd name="connsiteY2" fmla="*/ 70199 h 172497"/>
                  <a:gd name="connsiteX3" fmla="*/ 18574 w 87630"/>
                  <a:gd name="connsiteY3" fmla="*/ 17621 h 172497"/>
                  <a:gd name="connsiteX4" fmla="*/ 25718 w 87630"/>
                  <a:gd name="connsiteY4" fmla="*/ 0 h 172497"/>
                  <a:gd name="connsiteX5" fmla="*/ 87344 w 87630"/>
                  <a:gd name="connsiteY5" fmla="*/ 68294 h 172497"/>
                  <a:gd name="connsiteX6" fmla="*/ 10478 w 87630"/>
                  <a:gd name="connsiteY6" fmla="*/ 172498 h 1724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87630" h="172497">
                    <a:moveTo>
                      <a:pt x="10478" y="172498"/>
                    </a:moveTo>
                    <a:lnTo>
                      <a:pt x="0" y="156591"/>
                    </a:lnTo>
                    <a:cubicBezTo>
                      <a:pt x="47244" y="125539"/>
                      <a:pt x="70866" y="95631"/>
                      <a:pt x="68389" y="70199"/>
                    </a:cubicBezTo>
                    <a:cubicBezTo>
                      <a:pt x="65151" y="36862"/>
                      <a:pt x="19050" y="17812"/>
                      <a:pt x="18574" y="17621"/>
                    </a:cubicBezTo>
                    <a:lnTo>
                      <a:pt x="25718" y="0"/>
                    </a:lnTo>
                    <a:cubicBezTo>
                      <a:pt x="28099" y="953"/>
                      <a:pt x="82868" y="23527"/>
                      <a:pt x="87344" y="68294"/>
                    </a:cubicBezTo>
                    <a:cubicBezTo>
                      <a:pt x="90678" y="101727"/>
                      <a:pt x="64865" y="136779"/>
                      <a:pt x="10478" y="172498"/>
                    </a:cubicBezTo>
                    <a:close/>
                  </a:path>
                </a:pathLst>
              </a:custGeom>
              <a:solidFill>
                <a:srgbClr val="D4927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 sz="1800"/>
              </a:p>
            </p:txBody>
          </p:sp>
        </p:grpSp>
        <p:sp>
          <p:nvSpPr>
            <p:cNvPr id="15" name="ïṧļiḓé">
              <a:extLst>
                <a:ext uri="{FF2B5EF4-FFF2-40B4-BE49-F238E27FC236}">
                  <a16:creationId xmlns:a16="http://schemas.microsoft.com/office/drawing/2014/main" id="{500D29B8-0EA6-4A94-8FF4-0ADD4F8ABDC6}"/>
                </a:ext>
              </a:extLst>
            </p:cNvPr>
            <p:cNvSpPr/>
            <p:nvPr/>
          </p:nvSpPr>
          <p:spPr>
            <a:xfrm>
              <a:off x="5341905" y="4139755"/>
              <a:ext cx="1670494" cy="1333500"/>
            </a:xfrm>
            <a:custGeom>
              <a:avLst/>
              <a:gdLst>
                <a:gd name="connsiteX0" fmla="*/ 1670494 w 1670494"/>
                <a:gd name="connsiteY0" fmla="*/ 666750 h 1333500"/>
                <a:gd name="connsiteX1" fmla="*/ 835247 w 1670494"/>
                <a:gd name="connsiteY1" fmla="*/ 1333500 h 1333500"/>
                <a:gd name="connsiteX2" fmla="*/ 0 w 1670494"/>
                <a:gd name="connsiteY2" fmla="*/ 666750 h 1333500"/>
                <a:gd name="connsiteX3" fmla="*/ 835247 w 1670494"/>
                <a:gd name="connsiteY3" fmla="*/ 0 h 1333500"/>
                <a:gd name="connsiteX4" fmla="*/ 1670494 w 1670494"/>
                <a:gd name="connsiteY4" fmla="*/ 666750 h 1333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70494" h="1333500">
                  <a:moveTo>
                    <a:pt x="1670494" y="666750"/>
                  </a:moveTo>
                  <a:cubicBezTo>
                    <a:pt x="1670494" y="1034986"/>
                    <a:pt x="1296541" y="1333500"/>
                    <a:pt x="835247" y="1333500"/>
                  </a:cubicBezTo>
                  <a:cubicBezTo>
                    <a:pt x="373953" y="1333500"/>
                    <a:pt x="0" y="1034986"/>
                    <a:pt x="0" y="666750"/>
                  </a:cubicBezTo>
                  <a:cubicBezTo>
                    <a:pt x="0" y="298514"/>
                    <a:pt x="373953" y="0"/>
                    <a:pt x="835247" y="0"/>
                  </a:cubicBezTo>
                  <a:cubicBezTo>
                    <a:pt x="1296541" y="0"/>
                    <a:pt x="1670494" y="298514"/>
                    <a:pt x="1670494" y="666750"/>
                  </a:cubicBezTo>
                  <a:close/>
                </a:path>
              </a:pathLst>
            </a:custGeom>
            <a:solidFill>
              <a:srgbClr val="E7BB9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 sz="1800"/>
            </a:p>
          </p:txBody>
        </p:sp>
        <p:sp>
          <p:nvSpPr>
            <p:cNvPr id="16" name="íslíḓé">
              <a:extLst>
                <a:ext uri="{FF2B5EF4-FFF2-40B4-BE49-F238E27FC236}">
                  <a16:creationId xmlns:a16="http://schemas.microsoft.com/office/drawing/2014/main" id="{539C68AC-D37F-4292-9625-B18267431288}"/>
                </a:ext>
              </a:extLst>
            </p:cNvPr>
            <p:cNvSpPr/>
            <p:nvPr/>
          </p:nvSpPr>
          <p:spPr>
            <a:xfrm>
              <a:off x="6448510" y="4442534"/>
              <a:ext cx="196911" cy="196816"/>
            </a:xfrm>
            <a:custGeom>
              <a:avLst/>
              <a:gdLst>
                <a:gd name="connsiteX0" fmla="*/ 196701 w 196911"/>
                <a:gd name="connsiteY0" fmla="*/ 104700 h 196816"/>
                <a:gd name="connsiteX1" fmla="*/ 92116 w 196911"/>
                <a:gd name="connsiteY1" fmla="*/ 196616 h 196816"/>
                <a:gd name="connsiteX2" fmla="*/ 200 w 196911"/>
                <a:gd name="connsiteY2" fmla="*/ 92032 h 196816"/>
                <a:gd name="connsiteX3" fmla="*/ 104785 w 196911"/>
                <a:gd name="connsiteY3" fmla="*/ 211 h 196816"/>
                <a:gd name="connsiteX4" fmla="*/ 196701 w 196911"/>
                <a:gd name="connsiteY4" fmla="*/ 104700 h 1968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6911" h="196816">
                  <a:moveTo>
                    <a:pt x="196701" y="104700"/>
                  </a:moveTo>
                  <a:cubicBezTo>
                    <a:pt x="193177" y="158993"/>
                    <a:pt x="146409" y="200046"/>
                    <a:pt x="92116" y="196616"/>
                  </a:cubicBezTo>
                  <a:cubicBezTo>
                    <a:pt x="37824" y="193092"/>
                    <a:pt x="-3229" y="146324"/>
                    <a:pt x="200" y="92032"/>
                  </a:cubicBezTo>
                  <a:cubicBezTo>
                    <a:pt x="3724" y="37739"/>
                    <a:pt x="50492" y="-3313"/>
                    <a:pt x="104785" y="211"/>
                  </a:cubicBezTo>
                  <a:cubicBezTo>
                    <a:pt x="159077" y="3640"/>
                    <a:pt x="200225" y="50503"/>
                    <a:pt x="196701" y="104700"/>
                  </a:cubicBezTo>
                  <a:close/>
                </a:path>
              </a:pathLst>
            </a:custGeom>
            <a:solidFill>
              <a:srgbClr val="7A2A2A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 sz="1800"/>
            </a:p>
          </p:txBody>
        </p:sp>
        <p:sp>
          <p:nvSpPr>
            <p:cNvPr id="17" name="ïṡlîḍe">
              <a:extLst>
                <a:ext uri="{FF2B5EF4-FFF2-40B4-BE49-F238E27FC236}">
                  <a16:creationId xmlns:a16="http://schemas.microsoft.com/office/drawing/2014/main" id="{C60529B7-087B-4CCA-B698-87B3C29D81CE}"/>
                </a:ext>
              </a:extLst>
            </p:cNvPr>
            <p:cNvSpPr/>
            <p:nvPr/>
          </p:nvSpPr>
          <p:spPr>
            <a:xfrm>
              <a:off x="5770520" y="4478539"/>
              <a:ext cx="196911" cy="196826"/>
            </a:xfrm>
            <a:custGeom>
              <a:avLst/>
              <a:gdLst>
                <a:gd name="connsiteX0" fmla="*/ 196701 w 196911"/>
                <a:gd name="connsiteY0" fmla="*/ 104700 h 196826"/>
                <a:gd name="connsiteX1" fmla="*/ 92116 w 196911"/>
                <a:gd name="connsiteY1" fmla="*/ 196616 h 196826"/>
                <a:gd name="connsiteX2" fmla="*/ 200 w 196911"/>
                <a:gd name="connsiteY2" fmla="*/ 92032 h 196826"/>
                <a:gd name="connsiteX3" fmla="*/ 104784 w 196911"/>
                <a:gd name="connsiteY3" fmla="*/ 211 h 196826"/>
                <a:gd name="connsiteX4" fmla="*/ 196701 w 196911"/>
                <a:gd name="connsiteY4" fmla="*/ 104700 h 1968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6911" h="196826">
                  <a:moveTo>
                    <a:pt x="196701" y="104700"/>
                  </a:moveTo>
                  <a:cubicBezTo>
                    <a:pt x="193176" y="158992"/>
                    <a:pt x="146409" y="200140"/>
                    <a:pt x="92116" y="196616"/>
                  </a:cubicBezTo>
                  <a:cubicBezTo>
                    <a:pt x="37824" y="193092"/>
                    <a:pt x="-3229" y="146324"/>
                    <a:pt x="200" y="92032"/>
                  </a:cubicBezTo>
                  <a:cubicBezTo>
                    <a:pt x="3724" y="37834"/>
                    <a:pt x="50492" y="-3314"/>
                    <a:pt x="104784" y="211"/>
                  </a:cubicBezTo>
                  <a:cubicBezTo>
                    <a:pt x="159077" y="3640"/>
                    <a:pt x="200225" y="50502"/>
                    <a:pt x="196701" y="104700"/>
                  </a:cubicBezTo>
                  <a:close/>
                </a:path>
              </a:pathLst>
            </a:custGeom>
            <a:solidFill>
              <a:srgbClr val="7A2A2A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 sz="1800"/>
            </a:p>
          </p:txBody>
        </p:sp>
        <p:sp>
          <p:nvSpPr>
            <p:cNvPr id="18" name="ïsļide">
              <a:extLst>
                <a:ext uri="{FF2B5EF4-FFF2-40B4-BE49-F238E27FC236}">
                  <a16:creationId xmlns:a16="http://schemas.microsoft.com/office/drawing/2014/main" id="{3FE781D3-9346-4AE2-8577-9E883087ABCC}"/>
                </a:ext>
              </a:extLst>
            </p:cNvPr>
            <p:cNvSpPr/>
            <p:nvPr/>
          </p:nvSpPr>
          <p:spPr>
            <a:xfrm>
              <a:off x="5385625" y="3698189"/>
              <a:ext cx="1406842" cy="667784"/>
            </a:xfrm>
            <a:custGeom>
              <a:avLst/>
              <a:gdLst>
                <a:gd name="connsiteX0" fmla="*/ 1406842 w 1406842"/>
                <a:gd name="connsiteY0" fmla="*/ 657402 h 667784"/>
                <a:gd name="connsiteX1" fmla="*/ 660368 w 1406842"/>
                <a:gd name="connsiteY1" fmla="*/ 177 h 667784"/>
                <a:gd name="connsiteX2" fmla="*/ 0 w 1406842"/>
                <a:gd name="connsiteY2" fmla="*/ 525005 h 667784"/>
                <a:gd name="connsiteX3" fmla="*/ 393668 w 1406842"/>
                <a:gd name="connsiteY3" fmla="*/ 298596 h 667784"/>
                <a:gd name="connsiteX4" fmla="*/ 167164 w 1406842"/>
                <a:gd name="connsiteY4" fmla="*/ 667785 h 667784"/>
                <a:gd name="connsiteX5" fmla="*/ 1406842 w 1406842"/>
                <a:gd name="connsiteY5" fmla="*/ 657402 h 6677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406842" h="667784">
                  <a:moveTo>
                    <a:pt x="1406842" y="657402"/>
                  </a:moveTo>
                  <a:cubicBezTo>
                    <a:pt x="1406842" y="657402"/>
                    <a:pt x="971550" y="-12491"/>
                    <a:pt x="660368" y="177"/>
                  </a:cubicBezTo>
                  <a:cubicBezTo>
                    <a:pt x="349186" y="12846"/>
                    <a:pt x="0" y="525005"/>
                    <a:pt x="0" y="525005"/>
                  </a:cubicBezTo>
                  <a:cubicBezTo>
                    <a:pt x="0" y="525005"/>
                    <a:pt x="409575" y="231921"/>
                    <a:pt x="393668" y="298596"/>
                  </a:cubicBezTo>
                  <a:cubicBezTo>
                    <a:pt x="377761" y="365271"/>
                    <a:pt x="167164" y="667785"/>
                    <a:pt x="167164" y="667785"/>
                  </a:cubicBezTo>
                  <a:cubicBezTo>
                    <a:pt x="167164" y="667785"/>
                    <a:pt x="864203" y="219252"/>
                    <a:pt x="1406842" y="657402"/>
                  </a:cubicBezTo>
                  <a:close/>
                </a:path>
              </a:pathLst>
            </a:custGeom>
            <a:solidFill>
              <a:srgbClr val="88A54A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 sz="1800"/>
            </a:p>
          </p:txBody>
        </p:sp>
        <p:sp>
          <p:nvSpPr>
            <p:cNvPr id="19" name="í$ľidé">
              <a:extLst>
                <a:ext uri="{FF2B5EF4-FFF2-40B4-BE49-F238E27FC236}">
                  <a16:creationId xmlns:a16="http://schemas.microsoft.com/office/drawing/2014/main" id="{3F146E39-3365-4D2B-912F-4D9841271610}"/>
                </a:ext>
              </a:extLst>
            </p:cNvPr>
            <p:cNvSpPr/>
            <p:nvPr/>
          </p:nvSpPr>
          <p:spPr>
            <a:xfrm>
              <a:off x="5302947" y="4139755"/>
              <a:ext cx="174688" cy="174688"/>
            </a:xfrm>
            <a:custGeom>
              <a:avLst/>
              <a:gdLst>
                <a:gd name="connsiteX0" fmla="*/ 174688 w 174688"/>
                <a:gd name="connsiteY0" fmla="*/ 87344 h 174688"/>
                <a:gd name="connsiteX1" fmla="*/ 87344 w 174688"/>
                <a:gd name="connsiteY1" fmla="*/ 174688 h 174688"/>
                <a:gd name="connsiteX2" fmla="*/ 0 w 174688"/>
                <a:gd name="connsiteY2" fmla="*/ 87344 h 174688"/>
                <a:gd name="connsiteX3" fmla="*/ 87344 w 174688"/>
                <a:gd name="connsiteY3" fmla="*/ 0 h 174688"/>
                <a:gd name="connsiteX4" fmla="*/ 174688 w 174688"/>
                <a:gd name="connsiteY4" fmla="*/ 87344 h 1746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4688" h="174688">
                  <a:moveTo>
                    <a:pt x="174688" y="87344"/>
                  </a:moveTo>
                  <a:cubicBezTo>
                    <a:pt x="174688" y="135541"/>
                    <a:pt x="135541" y="174688"/>
                    <a:pt x="87344" y="174688"/>
                  </a:cubicBezTo>
                  <a:cubicBezTo>
                    <a:pt x="39148" y="174688"/>
                    <a:pt x="0" y="135636"/>
                    <a:pt x="0" y="87344"/>
                  </a:cubicBezTo>
                  <a:cubicBezTo>
                    <a:pt x="0" y="39053"/>
                    <a:pt x="39053" y="0"/>
                    <a:pt x="87344" y="0"/>
                  </a:cubicBezTo>
                  <a:cubicBezTo>
                    <a:pt x="135636" y="0"/>
                    <a:pt x="174688" y="39148"/>
                    <a:pt x="174688" y="87344"/>
                  </a:cubicBezTo>
                  <a:close/>
                </a:path>
              </a:pathLst>
            </a:custGeom>
            <a:solidFill>
              <a:srgbClr val="EBB63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 sz="1800"/>
            </a:p>
          </p:txBody>
        </p:sp>
        <p:sp>
          <p:nvSpPr>
            <p:cNvPr id="20" name="iŝlïḍé">
              <a:extLst>
                <a:ext uri="{FF2B5EF4-FFF2-40B4-BE49-F238E27FC236}">
                  <a16:creationId xmlns:a16="http://schemas.microsoft.com/office/drawing/2014/main" id="{14451682-4FE8-43E2-A91B-F000CD6FC761}"/>
                </a:ext>
              </a:extLst>
            </p:cNvPr>
            <p:cNvSpPr/>
            <p:nvPr/>
          </p:nvSpPr>
          <p:spPr>
            <a:xfrm>
              <a:off x="5532405" y="4041312"/>
              <a:ext cx="1273397" cy="341330"/>
            </a:xfrm>
            <a:custGeom>
              <a:avLst/>
              <a:gdLst>
                <a:gd name="connsiteX0" fmla="*/ 1118235 w 1273397"/>
                <a:gd name="connsiteY0" fmla="*/ 118636 h 341330"/>
                <a:gd name="connsiteX1" fmla="*/ 102108 w 1273397"/>
                <a:gd name="connsiteY1" fmla="*/ 203980 h 341330"/>
                <a:gd name="connsiteX2" fmla="*/ 0 w 1273397"/>
                <a:gd name="connsiteY2" fmla="*/ 341331 h 341330"/>
                <a:gd name="connsiteX3" fmla="*/ 1273397 w 1273397"/>
                <a:gd name="connsiteY3" fmla="*/ 324662 h 341330"/>
                <a:gd name="connsiteX4" fmla="*/ 1118235 w 1273397"/>
                <a:gd name="connsiteY4" fmla="*/ 118636 h 3413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73397" h="341330">
                  <a:moveTo>
                    <a:pt x="1118235" y="118636"/>
                  </a:moveTo>
                  <a:cubicBezTo>
                    <a:pt x="1118235" y="118636"/>
                    <a:pt x="665417" y="-198356"/>
                    <a:pt x="102108" y="203980"/>
                  </a:cubicBezTo>
                  <a:lnTo>
                    <a:pt x="0" y="341331"/>
                  </a:lnTo>
                  <a:cubicBezTo>
                    <a:pt x="0" y="341331"/>
                    <a:pt x="710470" y="-114345"/>
                    <a:pt x="1273397" y="324662"/>
                  </a:cubicBezTo>
                  <a:lnTo>
                    <a:pt x="1118235" y="118636"/>
                  </a:lnTo>
                  <a:close/>
                </a:path>
              </a:pathLst>
            </a:custGeom>
            <a:solidFill>
              <a:srgbClr val="CD3C4C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 sz="1800"/>
            </a:p>
          </p:txBody>
        </p:sp>
        <p:sp>
          <p:nvSpPr>
            <p:cNvPr id="21" name="ïşḻíde">
              <a:extLst>
                <a:ext uri="{FF2B5EF4-FFF2-40B4-BE49-F238E27FC236}">
                  <a16:creationId xmlns:a16="http://schemas.microsoft.com/office/drawing/2014/main" id="{CB374277-C81E-4196-81C7-28843328B445}"/>
                </a:ext>
              </a:extLst>
            </p:cNvPr>
            <p:cNvSpPr/>
            <p:nvPr/>
          </p:nvSpPr>
          <p:spPr>
            <a:xfrm>
              <a:off x="5577839" y="4659534"/>
              <a:ext cx="218312" cy="218312"/>
            </a:xfrm>
            <a:custGeom>
              <a:avLst/>
              <a:gdLst>
                <a:gd name="connsiteX0" fmla="*/ 218313 w 218312"/>
                <a:gd name="connsiteY0" fmla="*/ 109156 h 218312"/>
                <a:gd name="connsiteX1" fmla="*/ 109156 w 218312"/>
                <a:gd name="connsiteY1" fmla="*/ 218313 h 218312"/>
                <a:gd name="connsiteX2" fmla="*/ 0 w 218312"/>
                <a:gd name="connsiteY2" fmla="*/ 109156 h 218312"/>
                <a:gd name="connsiteX3" fmla="*/ 109156 w 218312"/>
                <a:gd name="connsiteY3" fmla="*/ 0 h 218312"/>
                <a:gd name="connsiteX4" fmla="*/ 218313 w 218312"/>
                <a:gd name="connsiteY4" fmla="*/ 109156 h 2183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18312" h="218312">
                  <a:moveTo>
                    <a:pt x="218313" y="109156"/>
                  </a:moveTo>
                  <a:cubicBezTo>
                    <a:pt x="218313" y="169450"/>
                    <a:pt x="169450" y="218313"/>
                    <a:pt x="109156" y="218313"/>
                  </a:cubicBezTo>
                  <a:cubicBezTo>
                    <a:pt x="48863" y="218313"/>
                    <a:pt x="0" y="169450"/>
                    <a:pt x="0" y="109156"/>
                  </a:cubicBezTo>
                  <a:cubicBezTo>
                    <a:pt x="0" y="48863"/>
                    <a:pt x="48863" y="0"/>
                    <a:pt x="109156" y="0"/>
                  </a:cubicBezTo>
                  <a:cubicBezTo>
                    <a:pt x="169450" y="0"/>
                    <a:pt x="218313" y="48863"/>
                    <a:pt x="218313" y="109156"/>
                  </a:cubicBezTo>
                  <a:close/>
                </a:path>
              </a:pathLst>
            </a:custGeom>
            <a:solidFill>
              <a:srgbClr val="F5898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 sz="1800"/>
            </a:p>
          </p:txBody>
        </p:sp>
        <p:sp>
          <p:nvSpPr>
            <p:cNvPr id="22" name="iṧľïḓe">
              <a:extLst>
                <a:ext uri="{FF2B5EF4-FFF2-40B4-BE49-F238E27FC236}">
                  <a16:creationId xmlns:a16="http://schemas.microsoft.com/office/drawing/2014/main" id="{D8F9CD05-82DB-4925-8B1A-89CC4E1F2B3A}"/>
                </a:ext>
              </a:extLst>
            </p:cNvPr>
            <p:cNvSpPr/>
            <p:nvPr/>
          </p:nvSpPr>
          <p:spPr>
            <a:xfrm rot="-1484732">
              <a:off x="6587584" y="4601501"/>
              <a:ext cx="218318" cy="218318"/>
            </a:xfrm>
            <a:custGeom>
              <a:avLst/>
              <a:gdLst>
                <a:gd name="connsiteX0" fmla="*/ 218319 w 218318"/>
                <a:gd name="connsiteY0" fmla="*/ 109159 h 218318"/>
                <a:gd name="connsiteX1" fmla="*/ 109160 w 218318"/>
                <a:gd name="connsiteY1" fmla="*/ 218319 h 218318"/>
                <a:gd name="connsiteX2" fmla="*/ 0 w 218318"/>
                <a:gd name="connsiteY2" fmla="*/ 109159 h 218318"/>
                <a:gd name="connsiteX3" fmla="*/ 109160 w 218318"/>
                <a:gd name="connsiteY3" fmla="*/ 0 h 218318"/>
                <a:gd name="connsiteX4" fmla="*/ 218319 w 218318"/>
                <a:gd name="connsiteY4" fmla="*/ 109159 h 2183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18318" h="218318">
                  <a:moveTo>
                    <a:pt x="218319" y="109159"/>
                  </a:moveTo>
                  <a:cubicBezTo>
                    <a:pt x="218319" y="169447"/>
                    <a:pt x="169446" y="218319"/>
                    <a:pt x="109160" y="218319"/>
                  </a:cubicBezTo>
                  <a:cubicBezTo>
                    <a:pt x="48872" y="218319"/>
                    <a:pt x="0" y="169446"/>
                    <a:pt x="0" y="109159"/>
                  </a:cubicBezTo>
                  <a:cubicBezTo>
                    <a:pt x="0" y="48872"/>
                    <a:pt x="48873" y="0"/>
                    <a:pt x="109160" y="0"/>
                  </a:cubicBezTo>
                  <a:cubicBezTo>
                    <a:pt x="169447" y="0"/>
                    <a:pt x="218319" y="48873"/>
                    <a:pt x="218319" y="109159"/>
                  </a:cubicBezTo>
                  <a:close/>
                </a:path>
              </a:pathLst>
            </a:custGeom>
            <a:solidFill>
              <a:srgbClr val="F5898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 sz="1800"/>
            </a:p>
          </p:txBody>
        </p:sp>
        <p:sp>
          <p:nvSpPr>
            <p:cNvPr id="23" name="íṧľîďè">
              <a:extLst>
                <a:ext uri="{FF2B5EF4-FFF2-40B4-BE49-F238E27FC236}">
                  <a16:creationId xmlns:a16="http://schemas.microsoft.com/office/drawing/2014/main" id="{3A0EE395-2C15-45B0-9746-E8591722CC76}"/>
                </a:ext>
              </a:extLst>
            </p:cNvPr>
            <p:cNvSpPr/>
            <p:nvPr/>
          </p:nvSpPr>
          <p:spPr>
            <a:xfrm>
              <a:off x="5539168" y="4187973"/>
              <a:ext cx="1208532" cy="204765"/>
            </a:xfrm>
            <a:custGeom>
              <a:avLst/>
              <a:gdLst>
                <a:gd name="connsiteX0" fmla="*/ 1208532 w 1208532"/>
                <a:gd name="connsiteY0" fmla="*/ 168476 h 204765"/>
                <a:gd name="connsiteX1" fmla="*/ 0 w 1208532"/>
                <a:gd name="connsiteY1" fmla="*/ 204766 h 204765"/>
                <a:gd name="connsiteX2" fmla="*/ 1208532 w 1208532"/>
                <a:gd name="connsiteY2" fmla="*/ 168476 h 2047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08532" h="204765">
                  <a:moveTo>
                    <a:pt x="1208532" y="168476"/>
                  </a:moveTo>
                  <a:cubicBezTo>
                    <a:pt x="1208532" y="168476"/>
                    <a:pt x="775906" y="-116798"/>
                    <a:pt x="0" y="204766"/>
                  </a:cubicBezTo>
                  <a:cubicBezTo>
                    <a:pt x="0" y="204766"/>
                    <a:pt x="729043" y="-230717"/>
                    <a:pt x="1208532" y="168476"/>
                  </a:cubicBezTo>
                  <a:close/>
                </a:path>
              </a:pathLst>
            </a:custGeom>
            <a:solidFill>
              <a:srgbClr val="E1A889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 sz="1800"/>
            </a:p>
          </p:txBody>
        </p:sp>
        <p:sp>
          <p:nvSpPr>
            <p:cNvPr id="24" name="iṧḷíďé">
              <a:extLst>
                <a:ext uri="{FF2B5EF4-FFF2-40B4-BE49-F238E27FC236}">
                  <a16:creationId xmlns:a16="http://schemas.microsoft.com/office/drawing/2014/main" id="{CDB53462-83A0-4CA4-AD9B-FDB7EEB18993}"/>
                </a:ext>
              </a:extLst>
            </p:cNvPr>
            <p:cNvSpPr/>
            <p:nvPr/>
          </p:nvSpPr>
          <p:spPr>
            <a:xfrm>
              <a:off x="5711856" y="4659153"/>
              <a:ext cx="943165" cy="927925"/>
            </a:xfrm>
            <a:custGeom>
              <a:avLst/>
              <a:gdLst>
                <a:gd name="connsiteX0" fmla="*/ 943165 w 943165"/>
                <a:gd name="connsiteY0" fmla="*/ 463963 h 927925"/>
                <a:gd name="connsiteX1" fmla="*/ 471583 w 943165"/>
                <a:gd name="connsiteY1" fmla="*/ 927926 h 927925"/>
                <a:gd name="connsiteX2" fmla="*/ 0 w 943165"/>
                <a:gd name="connsiteY2" fmla="*/ 463963 h 927925"/>
                <a:gd name="connsiteX3" fmla="*/ 471583 w 943165"/>
                <a:gd name="connsiteY3" fmla="*/ 0 h 927925"/>
                <a:gd name="connsiteX4" fmla="*/ 943165 w 943165"/>
                <a:gd name="connsiteY4" fmla="*/ 463963 h 9279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43165" h="927925">
                  <a:moveTo>
                    <a:pt x="943165" y="463963"/>
                  </a:moveTo>
                  <a:cubicBezTo>
                    <a:pt x="943165" y="720185"/>
                    <a:pt x="731996" y="927926"/>
                    <a:pt x="471583" y="927926"/>
                  </a:cubicBezTo>
                  <a:cubicBezTo>
                    <a:pt x="211169" y="927926"/>
                    <a:pt x="0" y="720185"/>
                    <a:pt x="0" y="463963"/>
                  </a:cubicBezTo>
                  <a:cubicBezTo>
                    <a:pt x="0" y="207740"/>
                    <a:pt x="211169" y="0"/>
                    <a:pt x="471583" y="0"/>
                  </a:cubicBezTo>
                  <a:cubicBezTo>
                    <a:pt x="731996" y="0"/>
                    <a:pt x="943165" y="207740"/>
                    <a:pt x="943165" y="463963"/>
                  </a:cubicBezTo>
                  <a:close/>
                </a:path>
              </a:pathLst>
            </a:custGeom>
            <a:solidFill>
              <a:srgbClr val="AA5535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 sz="1800"/>
            </a:p>
          </p:txBody>
        </p:sp>
        <p:sp>
          <p:nvSpPr>
            <p:cNvPr id="25" name="ís1ïḋe">
              <a:extLst>
                <a:ext uri="{FF2B5EF4-FFF2-40B4-BE49-F238E27FC236}">
                  <a16:creationId xmlns:a16="http://schemas.microsoft.com/office/drawing/2014/main" id="{06BA0D80-0569-45FA-A7AA-C95E41BD429E}"/>
                </a:ext>
              </a:extLst>
            </p:cNvPr>
            <p:cNvSpPr/>
            <p:nvPr/>
          </p:nvSpPr>
          <p:spPr>
            <a:xfrm>
              <a:off x="5297518" y="4415980"/>
              <a:ext cx="873728" cy="1171098"/>
            </a:xfrm>
            <a:custGeom>
              <a:avLst/>
              <a:gdLst>
                <a:gd name="connsiteX0" fmla="*/ 206026 w 873728"/>
                <a:gd name="connsiteY0" fmla="*/ 0 h 1171098"/>
                <a:gd name="connsiteX1" fmla="*/ 227457 w 873728"/>
                <a:gd name="connsiteY1" fmla="*/ 509492 h 1171098"/>
                <a:gd name="connsiteX2" fmla="*/ 553117 w 873728"/>
                <a:gd name="connsiteY2" fmla="*/ 480917 h 1171098"/>
                <a:gd name="connsiteX3" fmla="*/ 873728 w 873728"/>
                <a:gd name="connsiteY3" fmla="*/ 1171099 h 1171098"/>
                <a:gd name="connsiteX4" fmla="*/ 0 w 873728"/>
                <a:gd name="connsiteY4" fmla="*/ 278130 h 1171098"/>
                <a:gd name="connsiteX5" fmla="*/ 206026 w 873728"/>
                <a:gd name="connsiteY5" fmla="*/ 0 h 11710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873728" h="1171098">
                  <a:moveTo>
                    <a:pt x="206026" y="0"/>
                  </a:moveTo>
                  <a:cubicBezTo>
                    <a:pt x="206026" y="0"/>
                    <a:pt x="-55245" y="272225"/>
                    <a:pt x="227457" y="509492"/>
                  </a:cubicBezTo>
                  <a:cubicBezTo>
                    <a:pt x="404908" y="658463"/>
                    <a:pt x="553117" y="480917"/>
                    <a:pt x="553117" y="480917"/>
                  </a:cubicBezTo>
                  <a:lnTo>
                    <a:pt x="873728" y="1171099"/>
                  </a:lnTo>
                  <a:cubicBezTo>
                    <a:pt x="873728" y="1171099"/>
                    <a:pt x="26575" y="1142524"/>
                    <a:pt x="0" y="278130"/>
                  </a:cubicBezTo>
                  <a:cubicBezTo>
                    <a:pt x="0" y="278130"/>
                    <a:pt x="94964" y="81439"/>
                    <a:pt x="206026" y="0"/>
                  </a:cubicBezTo>
                  <a:close/>
                </a:path>
              </a:pathLst>
            </a:custGeom>
            <a:solidFill>
              <a:srgbClr val="AA5535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 sz="1800"/>
            </a:p>
          </p:txBody>
        </p:sp>
        <p:sp>
          <p:nvSpPr>
            <p:cNvPr id="26" name="íSḻîḓè">
              <a:extLst>
                <a:ext uri="{FF2B5EF4-FFF2-40B4-BE49-F238E27FC236}">
                  <a16:creationId xmlns:a16="http://schemas.microsoft.com/office/drawing/2014/main" id="{6B8FC09D-5ED4-4F3C-AA79-CCAA1CDF54D6}"/>
                </a:ext>
              </a:extLst>
            </p:cNvPr>
            <p:cNvSpPr/>
            <p:nvPr/>
          </p:nvSpPr>
          <p:spPr>
            <a:xfrm>
              <a:off x="6190392" y="4415980"/>
              <a:ext cx="873728" cy="1171098"/>
            </a:xfrm>
            <a:custGeom>
              <a:avLst/>
              <a:gdLst>
                <a:gd name="connsiteX0" fmla="*/ 667703 w 873728"/>
                <a:gd name="connsiteY0" fmla="*/ 0 h 1171098"/>
                <a:gd name="connsiteX1" fmla="*/ 646271 w 873728"/>
                <a:gd name="connsiteY1" fmla="*/ 509492 h 1171098"/>
                <a:gd name="connsiteX2" fmla="*/ 320612 w 873728"/>
                <a:gd name="connsiteY2" fmla="*/ 480917 h 1171098"/>
                <a:gd name="connsiteX3" fmla="*/ 0 w 873728"/>
                <a:gd name="connsiteY3" fmla="*/ 1171099 h 1171098"/>
                <a:gd name="connsiteX4" fmla="*/ 873728 w 873728"/>
                <a:gd name="connsiteY4" fmla="*/ 278130 h 1171098"/>
                <a:gd name="connsiteX5" fmla="*/ 667703 w 873728"/>
                <a:gd name="connsiteY5" fmla="*/ 0 h 11710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873728" h="1171098">
                  <a:moveTo>
                    <a:pt x="667703" y="0"/>
                  </a:moveTo>
                  <a:cubicBezTo>
                    <a:pt x="667703" y="0"/>
                    <a:pt x="928973" y="272225"/>
                    <a:pt x="646271" y="509492"/>
                  </a:cubicBezTo>
                  <a:cubicBezTo>
                    <a:pt x="468821" y="658463"/>
                    <a:pt x="320612" y="480917"/>
                    <a:pt x="320612" y="480917"/>
                  </a:cubicBezTo>
                  <a:lnTo>
                    <a:pt x="0" y="1171099"/>
                  </a:lnTo>
                  <a:cubicBezTo>
                    <a:pt x="0" y="1171099"/>
                    <a:pt x="847154" y="1142524"/>
                    <a:pt x="873728" y="278130"/>
                  </a:cubicBezTo>
                  <a:cubicBezTo>
                    <a:pt x="873728" y="278130"/>
                    <a:pt x="778764" y="81439"/>
                    <a:pt x="667703" y="0"/>
                  </a:cubicBezTo>
                  <a:close/>
                </a:path>
              </a:pathLst>
            </a:custGeom>
            <a:solidFill>
              <a:srgbClr val="AA5535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 sz="1800"/>
            </a:p>
          </p:txBody>
        </p:sp>
        <p:sp>
          <p:nvSpPr>
            <p:cNvPr id="27" name="iṣ1îďè">
              <a:extLst>
                <a:ext uri="{FF2B5EF4-FFF2-40B4-BE49-F238E27FC236}">
                  <a16:creationId xmlns:a16="http://schemas.microsoft.com/office/drawing/2014/main" id="{2686E721-CB90-4D40-819C-73F0A8177B48}"/>
                </a:ext>
              </a:extLst>
            </p:cNvPr>
            <p:cNvSpPr/>
            <p:nvPr/>
          </p:nvSpPr>
          <p:spPr>
            <a:xfrm>
              <a:off x="6134861" y="4365974"/>
              <a:ext cx="390906" cy="432911"/>
            </a:xfrm>
            <a:custGeom>
              <a:avLst/>
              <a:gdLst>
                <a:gd name="connsiteX0" fmla="*/ 0 w 390906"/>
                <a:gd name="connsiteY0" fmla="*/ 0 h 432911"/>
                <a:gd name="connsiteX1" fmla="*/ 390906 w 390906"/>
                <a:gd name="connsiteY1" fmla="*/ 323088 h 432911"/>
                <a:gd name="connsiteX2" fmla="*/ 9335 w 390906"/>
                <a:gd name="connsiteY2" fmla="*/ 432911 h 4329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90906" h="432911">
                  <a:moveTo>
                    <a:pt x="0" y="0"/>
                  </a:moveTo>
                  <a:lnTo>
                    <a:pt x="390906" y="323088"/>
                  </a:lnTo>
                  <a:lnTo>
                    <a:pt x="9335" y="432911"/>
                  </a:lnTo>
                  <a:close/>
                </a:path>
              </a:pathLst>
            </a:custGeom>
            <a:solidFill>
              <a:srgbClr val="CD3C4C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 sz="1800"/>
            </a:p>
          </p:txBody>
        </p:sp>
        <p:sp>
          <p:nvSpPr>
            <p:cNvPr id="28" name="ïṥľiďe">
              <a:extLst>
                <a:ext uri="{FF2B5EF4-FFF2-40B4-BE49-F238E27FC236}">
                  <a16:creationId xmlns:a16="http://schemas.microsoft.com/office/drawing/2014/main" id="{B0366BD2-7553-4A29-81F8-B6920BD730F3}"/>
                </a:ext>
              </a:extLst>
            </p:cNvPr>
            <p:cNvSpPr/>
            <p:nvPr/>
          </p:nvSpPr>
          <p:spPr>
            <a:xfrm>
              <a:off x="5992938" y="4730496"/>
              <a:ext cx="420528" cy="238886"/>
            </a:xfrm>
            <a:custGeom>
              <a:avLst/>
              <a:gdLst>
                <a:gd name="connsiteX0" fmla="*/ 210217 w 420528"/>
                <a:gd name="connsiteY0" fmla="*/ 238887 h 238886"/>
                <a:gd name="connsiteX1" fmla="*/ 0 w 420528"/>
                <a:gd name="connsiteY1" fmla="*/ 28575 h 238886"/>
                <a:gd name="connsiteX2" fmla="*/ 28575 w 420528"/>
                <a:gd name="connsiteY2" fmla="*/ 0 h 238886"/>
                <a:gd name="connsiteX3" fmla="*/ 57150 w 420528"/>
                <a:gd name="connsiteY3" fmla="*/ 28575 h 238886"/>
                <a:gd name="connsiteX4" fmla="*/ 210217 w 420528"/>
                <a:gd name="connsiteY4" fmla="*/ 181737 h 238886"/>
                <a:gd name="connsiteX5" fmla="*/ 363379 w 420528"/>
                <a:gd name="connsiteY5" fmla="*/ 28575 h 238886"/>
                <a:gd name="connsiteX6" fmla="*/ 391954 w 420528"/>
                <a:gd name="connsiteY6" fmla="*/ 0 h 238886"/>
                <a:gd name="connsiteX7" fmla="*/ 420529 w 420528"/>
                <a:gd name="connsiteY7" fmla="*/ 28575 h 238886"/>
                <a:gd name="connsiteX8" fmla="*/ 210217 w 420528"/>
                <a:gd name="connsiteY8" fmla="*/ 238887 h 2388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20528" h="238886">
                  <a:moveTo>
                    <a:pt x="210217" y="238887"/>
                  </a:moveTo>
                  <a:cubicBezTo>
                    <a:pt x="94297" y="238887"/>
                    <a:pt x="0" y="144589"/>
                    <a:pt x="0" y="28575"/>
                  </a:cubicBezTo>
                  <a:cubicBezTo>
                    <a:pt x="0" y="12763"/>
                    <a:pt x="12763" y="0"/>
                    <a:pt x="28575" y="0"/>
                  </a:cubicBezTo>
                  <a:cubicBezTo>
                    <a:pt x="44387" y="0"/>
                    <a:pt x="57150" y="12763"/>
                    <a:pt x="57150" y="28575"/>
                  </a:cubicBezTo>
                  <a:cubicBezTo>
                    <a:pt x="57150" y="112966"/>
                    <a:pt x="125825" y="181737"/>
                    <a:pt x="210217" y="181737"/>
                  </a:cubicBezTo>
                  <a:cubicBezTo>
                    <a:pt x="294608" y="181737"/>
                    <a:pt x="363379" y="113062"/>
                    <a:pt x="363379" y="28575"/>
                  </a:cubicBezTo>
                  <a:cubicBezTo>
                    <a:pt x="363379" y="12763"/>
                    <a:pt x="376142" y="0"/>
                    <a:pt x="391954" y="0"/>
                  </a:cubicBezTo>
                  <a:cubicBezTo>
                    <a:pt x="407765" y="0"/>
                    <a:pt x="420529" y="12763"/>
                    <a:pt x="420529" y="28575"/>
                  </a:cubicBezTo>
                  <a:cubicBezTo>
                    <a:pt x="420529" y="144589"/>
                    <a:pt x="326136" y="238887"/>
                    <a:pt x="210217" y="238887"/>
                  </a:cubicBezTo>
                  <a:close/>
                </a:path>
              </a:pathLst>
            </a:custGeom>
            <a:solidFill>
              <a:srgbClr val="88382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 sz="1800"/>
            </a:p>
          </p:txBody>
        </p:sp>
        <p:sp>
          <p:nvSpPr>
            <p:cNvPr id="29" name="iṩḷïḓé">
              <a:extLst>
                <a:ext uri="{FF2B5EF4-FFF2-40B4-BE49-F238E27FC236}">
                  <a16:creationId xmlns:a16="http://schemas.microsoft.com/office/drawing/2014/main" id="{86F10E7C-1E3C-40B1-B29E-21BF8FF44B28}"/>
                </a:ext>
              </a:extLst>
            </p:cNvPr>
            <p:cNvSpPr/>
            <p:nvPr/>
          </p:nvSpPr>
          <p:spPr>
            <a:xfrm>
              <a:off x="5577810" y="5349621"/>
              <a:ext cx="1169655" cy="442547"/>
            </a:xfrm>
            <a:custGeom>
              <a:avLst/>
              <a:gdLst>
                <a:gd name="connsiteX0" fmla="*/ 1167889 w 1169655"/>
                <a:gd name="connsiteY0" fmla="*/ 31813 h 442547"/>
                <a:gd name="connsiteX1" fmla="*/ 1009679 w 1169655"/>
                <a:gd name="connsiteY1" fmla="*/ 432721 h 442547"/>
                <a:gd name="connsiteX2" fmla="*/ 591341 w 1169655"/>
                <a:gd name="connsiteY2" fmla="*/ 232696 h 442547"/>
                <a:gd name="connsiteX3" fmla="*/ 218437 w 1169655"/>
                <a:gd name="connsiteY3" fmla="*/ 442246 h 442547"/>
                <a:gd name="connsiteX4" fmla="*/ 124 w 1169655"/>
                <a:gd name="connsiteY4" fmla="*/ 0 h 442547"/>
                <a:gd name="connsiteX5" fmla="*/ 1167889 w 1169655"/>
                <a:gd name="connsiteY5" fmla="*/ 31813 h 4425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69655" h="442547">
                  <a:moveTo>
                    <a:pt x="1167889" y="31813"/>
                  </a:moveTo>
                  <a:cubicBezTo>
                    <a:pt x="1167889" y="31813"/>
                    <a:pt x="1197988" y="387762"/>
                    <a:pt x="1009679" y="432721"/>
                  </a:cubicBezTo>
                  <a:cubicBezTo>
                    <a:pt x="821369" y="477678"/>
                    <a:pt x="591341" y="232696"/>
                    <a:pt x="591341" y="232696"/>
                  </a:cubicBezTo>
                  <a:cubicBezTo>
                    <a:pt x="591341" y="232696"/>
                    <a:pt x="449418" y="451771"/>
                    <a:pt x="218437" y="442246"/>
                  </a:cubicBezTo>
                  <a:cubicBezTo>
                    <a:pt x="-12544" y="432721"/>
                    <a:pt x="124" y="0"/>
                    <a:pt x="124" y="0"/>
                  </a:cubicBezTo>
                  <a:cubicBezTo>
                    <a:pt x="124" y="0"/>
                    <a:pt x="565623" y="442531"/>
                    <a:pt x="1167889" y="31813"/>
                  </a:cubicBezTo>
                  <a:close/>
                </a:path>
              </a:pathLst>
            </a:custGeom>
            <a:solidFill>
              <a:srgbClr val="F2EED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 sz="1800"/>
            </a:p>
          </p:txBody>
        </p:sp>
        <p:sp>
          <p:nvSpPr>
            <p:cNvPr id="30" name="iṥ1ídê">
              <a:extLst>
                <a:ext uri="{FF2B5EF4-FFF2-40B4-BE49-F238E27FC236}">
                  <a16:creationId xmlns:a16="http://schemas.microsoft.com/office/drawing/2014/main" id="{38806A1D-CB05-4C47-934C-15E6B2116EE7}"/>
                </a:ext>
              </a:extLst>
            </p:cNvPr>
            <p:cNvSpPr/>
            <p:nvPr/>
          </p:nvSpPr>
          <p:spPr>
            <a:xfrm>
              <a:off x="5304281" y="4620386"/>
              <a:ext cx="1682876" cy="896486"/>
            </a:xfrm>
            <a:custGeom>
              <a:avLst/>
              <a:gdLst>
                <a:gd name="connsiteX0" fmla="*/ 1682877 w 1682876"/>
                <a:gd name="connsiteY0" fmla="*/ 384143 h 896486"/>
                <a:gd name="connsiteX1" fmla="*/ 595694 w 1682876"/>
                <a:gd name="connsiteY1" fmla="*/ 717995 h 896486"/>
                <a:gd name="connsiteX2" fmla="*/ 36386 w 1682876"/>
                <a:gd name="connsiteY2" fmla="*/ 0 h 896486"/>
                <a:gd name="connsiteX3" fmla="*/ 0 w 1682876"/>
                <a:gd name="connsiteY3" fmla="*/ 79248 h 896486"/>
                <a:gd name="connsiteX4" fmla="*/ 598075 w 1682876"/>
                <a:gd name="connsiteY4" fmla="*/ 855059 h 896486"/>
                <a:gd name="connsiteX5" fmla="*/ 1682877 w 1682876"/>
                <a:gd name="connsiteY5" fmla="*/ 384143 h 8964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682876" h="896486">
                  <a:moveTo>
                    <a:pt x="1682877" y="384143"/>
                  </a:moveTo>
                  <a:cubicBezTo>
                    <a:pt x="1682877" y="384143"/>
                    <a:pt x="1243394" y="928211"/>
                    <a:pt x="595694" y="717995"/>
                  </a:cubicBezTo>
                  <a:cubicBezTo>
                    <a:pt x="-52006" y="507873"/>
                    <a:pt x="36386" y="0"/>
                    <a:pt x="36386" y="0"/>
                  </a:cubicBezTo>
                  <a:lnTo>
                    <a:pt x="0" y="79248"/>
                  </a:lnTo>
                  <a:cubicBezTo>
                    <a:pt x="0" y="79248"/>
                    <a:pt x="14478" y="720185"/>
                    <a:pt x="598075" y="855059"/>
                  </a:cubicBezTo>
                  <a:cubicBezTo>
                    <a:pt x="1523809" y="1069086"/>
                    <a:pt x="1682877" y="384143"/>
                    <a:pt x="1682877" y="384143"/>
                  </a:cubicBezTo>
                  <a:close/>
                </a:path>
              </a:pathLst>
            </a:custGeom>
            <a:solidFill>
              <a:srgbClr val="88382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 sz="1800"/>
            </a:p>
          </p:txBody>
        </p:sp>
        <p:sp>
          <p:nvSpPr>
            <p:cNvPr id="31" name="ïṩľíḑê">
              <a:extLst>
                <a:ext uri="{FF2B5EF4-FFF2-40B4-BE49-F238E27FC236}">
                  <a16:creationId xmlns:a16="http://schemas.microsoft.com/office/drawing/2014/main" id="{949B493D-CE95-442F-9638-55C438F3CF62}"/>
                </a:ext>
              </a:extLst>
            </p:cNvPr>
            <p:cNvSpPr/>
            <p:nvPr/>
          </p:nvSpPr>
          <p:spPr>
            <a:xfrm>
              <a:off x="5201792" y="4241958"/>
              <a:ext cx="1569148" cy="1833086"/>
            </a:xfrm>
            <a:custGeom>
              <a:avLst/>
              <a:gdLst>
                <a:gd name="connsiteX0" fmla="*/ 132017 w 1569148"/>
                <a:gd name="connsiteY0" fmla="*/ 772573 h 1833086"/>
                <a:gd name="connsiteX1" fmla="*/ 512350 w 1569148"/>
                <a:gd name="connsiteY1" fmla="*/ 0 h 1833086"/>
                <a:gd name="connsiteX2" fmla="*/ 0 w 1569148"/>
                <a:gd name="connsiteY2" fmla="*/ 858298 h 1833086"/>
                <a:gd name="connsiteX3" fmla="*/ 974788 w 1569148"/>
                <a:gd name="connsiteY3" fmla="*/ 1833086 h 1833086"/>
                <a:gd name="connsiteX4" fmla="*/ 1569148 w 1569148"/>
                <a:gd name="connsiteY4" fmla="*/ 1630871 h 1833086"/>
                <a:gd name="connsiteX5" fmla="*/ 1106710 w 1569148"/>
                <a:gd name="connsiteY5" fmla="*/ 1747361 h 1833086"/>
                <a:gd name="connsiteX6" fmla="*/ 132017 w 1569148"/>
                <a:gd name="connsiteY6" fmla="*/ 772573 h 18330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569148" h="1833086">
                  <a:moveTo>
                    <a:pt x="132017" y="772573"/>
                  </a:moveTo>
                  <a:cubicBezTo>
                    <a:pt x="132017" y="457962"/>
                    <a:pt x="281083" y="178213"/>
                    <a:pt x="512350" y="0"/>
                  </a:cubicBezTo>
                  <a:cubicBezTo>
                    <a:pt x="207264" y="164687"/>
                    <a:pt x="0" y="487299"/>
                    <a:pt x="0" y="858298"/>
                  </a:cubicBezTo>
                  <a:cubicBezTo>
                    <a:pt x="0" y="1396651"/>
                    <a:pt x="436436" y="1833086"/>
                    <a:pt x="974788" y="1833086"/>
                  </a:cubicBezTo>
                  <a:cubicBezTo>
                    <a:pt x="1198531" y="1833086"/>
                    <a:pt x="1404652" y="1757648"/>
                    <a:pt x="1569148" y="1630871"/>
                  </a:cubicBezTo>
                  <a:cubicBezTo>
                    <a:pt x="1431512" y="1705165"/>
                    <a:pt x="1274064" y="1747361"/>
                    <a:pt x="1106710" y="1747361"/>
                  </a:cubicBezTo>
                  <a:cubicBezTo>
                    <a:pt x="568452" y="1747266"/>
                    <a:pt x="132017" y="1310926"/>
                    <a:pt x="132017" y="772573"/>
                  </a:cubicBezTo>
                  <a:close/>
                </a:path>
              </a:pathLst>
            </a:custGeom>
            <a:solidFill>
              <a:srgbClr val="7A2A2A">
                <a:alpha val="10000"/>
              </a:srgb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 sz="1800"/>
            </a:p>
          </p:txBody>
        </p:sp>
        <p:sp>
          <p:nvSpPr>
            <p:cNvPr id="32" name="íŝ1ïḑè">
              <a:extLst>
                <a:ext uri="{FF2B5EF4-FFF2-40B4-BE49-F238E27FC236}">
                  <a16:creationId xmlns:a16="http://schemas.microsoft.com/office/drawing/2014/main" id="{554271DC-AD8F-4120-9E64-DF1EAEE04AB5}"/>
                </a:ext>
              </a:extLst>
            </p:cNvPr>
            <p:cNvSpPr/>
            <p:nvPr/>
          </p:nvSpPr>
          <p:spPr>
            <a:xfrm>
              <a:off x="6152387" y="4415980"/>
              <a:ext cx="308038" cy="352710"/>
            </a:xfrm>
            <a:custGeom>
              <a:avLst/>
              <a:gdLst>
                <a:gd name="connsiteX0" fmla="*/ 308038 w 308038"/>
                <a:gd name="connsiteY0" fmla="*/ 267843 h 352710"/>
                <a:gd name="connsiteX1" fmla="*/ 76009 w 308038"/>
                <a:gd name="connsiteY1" fmla="*/ 267843 h 352710"/>
                <a:gd name="connsiteX2" fmla="*/ 0 w 308038"/>
                <a:gd name="connsiteY2" fmla="*/ 0 h 352710"/>
                <a:gd name="connsiteX3" fmla="*/ 10192 w 308038"/>
                <a:gd name="connsiteY3" fmla="*/ 352711 h 3527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08038" h="352710">
                  <a:moveTo>
                    <a:pt x="308038" y="267843"/>
                  </a:moveTo>
                  <a:lnTo>
                    <a:pt x="76009" y="267843"/>
                  </a:lnTo>
                  <a:lnTo>
                    <a:pt x="0" y="0"/>
                  </a:lnTo>
                  <a:lnTo>
                    <a:pt x="10192" y="352711"/>
                  </a:lnTo>
                  <a:close/>
                </a:path>
              </a:pathLst>
            </a:custGeom>
            <a:solidFill>
              <a:srgbClr val="B53A3C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 sz="1800"/>
            </a:p>
          </p:txBody>
        </p:sp>
        <p:sp>
          <p:nvSpPr>
            <p:cNvPr id="33" name="íṡḻíḑè">
              <a:extLst>
                <a:ext uri="{FF2B5EF4-FFF2-40B4-BE49-F238E27FC236}">
                  <a16:creationId xmlns:a16="http://schemas.microsoft.com/office/drawing/2014/main" id="{E1DC6BE1-8DEF-4839-BB1D-30DB35D08724}"/>
                </a:ext>
              </a:extLst>
            </p:cNvPr>
            <p:cNvSpPr/>
            <p:nvPr/>
          </p:nvSpPr>
          <p:spPr>
            <a:xfrm>
              <a:off x="6224301" y="4464653"/>
              <a:ext cx="206501" cy="179069"/>
            </a:xfrm>
            <a:custGeom>
              <a:avLst/>
              <a:gdLst>
                <a:gd name="connsiteX0" fmla="*/ 0 w 206501"/>
                <a:gd name="connsiteY0" fmla="*/ 0 h 179069"/>
                <a:gd name="connsiteX1" fmla="*/ 206502 w 206501"/>
                <a:gd name="connsiteY1" fmla="*/ 179070 h 179069"/>
                <a:gd name="connsiteX2" fmla="*/ 0 w 206501"/>
                <a:gd name="connsiteY2" fmla="*/ 0 h 1790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06501" h="179069">
                  <a:moveTo>
                    <a:pt x="0" y="0"/>
                  </a:moveTo>
                  <a:lnTo>
                    <a:pt x="206502" y="179070"/>
                  </a:lnTo>
                  <a:cubicBezTo>
                    <a:pt x="206502" y="178975"/>
                    <a:pt x="48292" y="123539"/>
                    <a:pt x="0" y="0"/>
                  </a:cubicBezTo>
                  <a:close/>
                </a:path>
              </a:pathLst>
            </a:custGeom>
            <a:solidFill>
              <a:srgbClr val="F2EED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 sz="1800"/>
            </a:p>
          </p:txBody>
        </p:sp>
        <p:grpSp>
          <p:nvGrpSpPr>
            <p:cNvPr id="34" name="图形 5">
              <a:extLst>
                <a:ext uri="{FF2B5EF4-FFF2-40B4-BE49-F238E27FC236}">
                  <a16:creationId xmlns:a16="http://schemas.microsoft.com/office/drawing/2014/main" id="{6F8DBAA2-3885-4584-BACA-6753F319855D}"/>
                </a:ext>
              </a:extLst>
            </p:cNvPr>
            <p:cNvGrpSpPr/>
            <p:nvPr/>
          </p:nvGrpSpPr>
          <p:grpSpPr>
            <a:xfrm>
              <a:off x="6352412" y="4236624"/>
              <a:ext cx="753468" cy="1174813"/>
              <a:chOff x="6352412" y="4236624"/>
              <a:chExt cx="753468" cy="1174813"/>
            </a:xfrm>
            <a:solidFill>
              <a:srgbClr val="F2EED7">
                <a:alpha val="50000"/>
              </a:srgbClr>
            </a:solidFill>
          </p:grpSpPr>
          <p:sp>
            <p:nvSpPr>
              <p:cNvPr id="35" name="is1ïḑê">
                <a:extLst>
                  <a:ext uri="{FF2B5EF4-FFF2-40B4-BE49-F238E27FC236}">
                    <a16:creationId xmlns:a16="http://schemas.microsoft.com/office/drawing/2014/main" id="{08BAF753-24C5-4E86-B688-7D4DFBEEB3D0}"/>
                  </a:ext>
                </a:extLst>
              </p:cNvPr>
              <p:cNvSpPr/>
              <p:nvPr/>
            </p:nvSpPr>
            <p:spPr>
              <a:xfrm>
                <a:off x="6490814" y="4284158"/>
                <a:ext cx="615066" cy="1127280"/>
              </a:xfrm>
              <a:custGeom>
                <a:avLst/>
                <a:gdLst>
                  <a:gd name="connsiteX0" fmla="*/ 521205 w 615066"/>
                  <a:gd name="connsiteY0" fmla="*/ 1127280 h 1127280"/>
                  <a:gd name="connsiteX1" fmla="*/ 506345 w 615066"/>
                  <a:gd name="connsiteY1" fmla="*/ 1124613 h 1127280"/>
                  <a:gd name="connsiteX2" fmla="*/ 481009 w 615066"/>
                  <a:gd name="connsiteY2" fmla="*/ 1069559 h 1127280"/>
                  <a:gd name="connsiteX3" fmla="*/ 458816 w 615066"/>
                  <a:gd name="connsiteY3" fmla="*/ 482438 h 1127280"/>
                  <a:gd name="connsiteX4" fmla="*/ 28000 w 615066"/>
                  <a:gd name="connsiteY4" fmla="*/ 83054 h 1127280"/>
                  <a:gd name="connsiteX5" fmla="*/ 2664 w 615066"/>
                  <a:gd name="connsiteY5" fmla="*/ 28000 h 1127280"/>
                  <a:gd name="connsiteX6" fmla="*/ 57718 w 615066"/>
                  <a:gd name="connsiteY6" fmla="*/ 2663 h 1127280"/>
                  <a:gd name="connsiteX7" fmla="*/ 536730 w 615066"/>
                  <a:gd name="connsiteY7" fmla="*/ 446719 h 1127280"/>
                  <a:gd name="connsiteX8" fmla="*/ 561400 w 615066"/>
                  <a:gd name="connsiteY8" fmla="*/ 1099372 h 1127280"/>
                  <a:gd name="connsiteX9" fmla="*/ 521205 w 615066"/>
                  <a:gd name="connsiteY9" fmla="*/ 1127280 h 11272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615066" h="1127280">
                    <a:moveTo>
                      <a:pt x="521205" y="1127280"/>
                    </a:moveTo>
                    <a:cubicBezTo>
                      <a:pt x="516251" y="1127280"/>
                      <a:pt x="511203" y="1126423"/>
                      <a:pt x="506345" y="1124613"/>
                    </a:cubicBezTo>
                    <a:cubicBezTo>
                      <a:pt x="484152" y="1116422"/>
                      <a:pt x="472817" y="1091752"/>
                      <a:pt x="481009" y="1069559"/>
                    </a:cubicBezTo>
                    <a:cubicBezTo>
                      <a:pt x="552256" y="877249"/>
                      <a:pt x="544350" y="668747"/>
                      <a:pt x="458816" y="482438"/>
                    </a:cubicBezTo>
                    <a:cubicBezTo>
                      <a:pt x="373281" y="296129"/>
                      <a:pt x="220215" y="154206"/>
                      <a:pt x="28000" y="83054"/>
                    </a:cubicBezTo>
                    <a:cubicBezTo>
                      <a:pt x="5807" y="74863"/>
                      <a:pt x="-5528" y="50193"/>
                      <a:pt x="2664" y="28000"/>
                    </a:cubicBezTo>
                    <a:cubicBezTo>
                      <a:pt x="10855" y="5807"/>
                      <a:pt x="35525" y="-5528"/>
                      <a:pt x="57718" y="2663"/>
                    </a:cubicBezTo>
                    <a:cubicBezTo>
                      <a:pt x="271459" y="81816"/>
                      <a:pt x="441575" y="239550"/>
                      <a:pt x="536730" y="446719"/>
                    </a:cubicBezTo>
                    <a:cubicBezTo>
                      <a:pt x="631885" y="653888"/>
                      <a:pt x="640648" y="885631"/>
                      <a:pt x="561400" y="1099372"/>
                    </a:cubicBezTo>
                    <a:cubicBezTo>
                      <a:pt x="554923" y="1116612"/>
                      <a:pt x="538540" y="1127280"/>
                      <a:pt x="521205" y="1127280"/>
                    </a:cubicBezTo>
                    <a:close/>
                  </a:path>
                </a:pathLst>
              </a:custGeom>
              <a:solidFill>
                <a:srgbClr val="F2EED7">
                  <a:alpha val="50000"/>
                </a:srgbClr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 sz="1800"/>
              </a:p>
            </p:txBody>
          </p:sp>
          <p:sp>
            <p:nvSpPr>
              <p:cNvPr id="36" name="íṩlíḑe">
                <a:extLst>
                  <a:ext uri="{FF2B5EF4-FFF2-40B4-BE49-F238E27FC236}">
                    <a16:creationId xmlns:a16="http://schemas.microsoft.com/office/drawing/2014/main" id="{37D5CDB9-C6FD-41FC-A308-3F93F930EC31}"/>
                  </a:ext>
                </a:extLst>
              </p:cNvPr>
              <p:cNvSpPr/>
              <p:nvPr/>
            </p:nvSpPr>
            <p:spPr>
              <a:xfrm>
                <a:off x="6352412" y="4236624"/>
                <a:ext cx="99821" cy="99821"/>
              </a:xfrm>
              <a:custGeom>
                <a:avLst/>
                <a:gdLst>
                  <a:gd name="connsiteX0" fmla="*/ 99822 w 99821"/>
                  <a:gd name="connsiteY0" fmla="*/ 49911 h 99821"/>
                  <a:gd name="connsiteX1" fmla="*/ 49911 w 99821"/>
                  <a:gd name="connsiteY1" fmla="*/ 99822 h 99821"/>
                  <a:gd name="connsiteX2" fmla="*/ 0 w 99821"/>
                  <a:gd name="connsiteY2" fmla="*/ 49911 h 99821"/>
                  <a:gd name="connsiteX3" fmla="*/ 49911 w 99821"/>
                  <a:gd name="connsiteY3" fmla="*/ 0 h 99821"/>
                  <a:gd name="connsiteX4" fmla="*/ 99822 w 99821"/>
                  <a:gd name="connsiteY4" fmla="*/ 49911 h 998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99821" h="99821">
                    <a:moveTo>
                      <a:pt x="99822" y="49911"/>
                    </a:moveTo>
                    <a:cubicBezTo>
                      <a:pt x="99822" y="77438"/>
                      <a:pt x="77438" y="99822"/>
                      <a:pt x="49911" y="99822"/>
                    </a:cubicBezTo>
                    <a:cubicBezTo>
                      <a:pt x="22384" y="99822"/>
                      <a:pt x="0" y="77438"/>
                      <a:pt x="0" y="49911"/>
                    </a:cubicBezTo>
                    <a:cubicBezTo>
                      <a:pt x="0" y="22384"/>
                      <a:pt x="22384" y="0"/>
                      <a:pt x="49911" y="0"/>
                    </a:cubicBezTo>
                    <a:cubicBezTo>
                      <a:pt x="77438" y="0"/>
                      <a:pt x="99822" y="22288"/>
                      <a:pt x="99822" y="49911"/>
                    </a:cubicBezTo>
                    <a:close/>
                  </a:path>
                </a:pathLst>
              </a:custGeom>
              <a:solidFill>
                <a:srgbClr val="F2EED7">
                  <a:alpha val="50000"/>
                </a:srgbClr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 sz="1800"/>
              </a:p>
            </p:txBody>
          </p:sp>
        </p:grpSp>
      </p:grpSp>
      <p:grpSp>
        <p:nvGrpSpPr>
          <p:cNvPr id="40" name="图形 5">
            <a:extLst>
              <a:ext uri="{FF2B5EF4-FFF2-40B4-BE49-F238E27FC236}">
                <a16:creationId xmlns:a16="http://schemas.microsoft.com/office/drawing/2014/main" id="{170D1381-59D1-4A4C-8C6E-572B432FA5DF}"/>
              </a:ext>
            </a:extLst>
          </p:cNvPr>
          <p:cNvGrpSpPr/>
          <p:nvPr userDrawn="1"/>
        </p:nvGrpSpPr>
        <p:grpSpPr>
          <a:xfrm rot="20543498">
            <a:off x="-671869" y="3549670"/>
            <a:ext cx="4669865" cy="4665328"/>
            <a:chOff x="2756225" y="4086891"/>
            <a:chExt cx="1984842" cy="1982914"/>
          </a:xfrm>
          <a:solidFill>
            <a:schemeClr val="accent1"/>
          </a:solidFill>
        </p:grpSpPr>
        <p:grpSp>
          <p:nvGrpSpPr>
            <p:cNvPr id="41" name="图形 5">
              <a:extLst>
                <a:ext uri="{FF2B5EF4-FFF2-40B4-BE49-F238E27FC236}">
                  <a16:creationId xmlns:a16="http://schemas.microsoft.com/office/drawing/2014/main" id="{35082C68-E450-4973-89B7-EF4B3FC0073F}"/>
                </a:ext>
              </a:extLst>
            </p:cNvPr>
            <p:cNvGrpSpPr/>
            <p:nvPr/>
          </p:nvGrpSpPr>
          <p:grpSpPr>
            <a:xfrm>
              <a:off x="2756225" y="4086891"/>
              <a:ext cx="1981223" cy="1982914"/>
              <a:chOff x="2756225" y="4086891"/>
              <a:chExt cx="1981223" cy="1982914"/>
            </a:xfrm>
            <a:solidFill>
              <a:schemeClr val="accent1"/>
            </a:solidFill>
          </p:grpSpPr>
          <p:sp>
            <p:nvSpPr>
              <p:cNvPr id="43" name="íšļiḓè">
                <a:extLst>
                  <a:ext uri="{FF2B5EF4-FFF2-40B4-BE49-F238E27FC236}">
                    <a16:creationId xmlns:a16="http://schemas.microsoft.com/office/drawing/2014/main" id="{7AD3E1D5-A985-425E-B7F4-B06FB28D630B}"/>
                  </a:ext>
                </a:extLst>
              </p:cNvPr>
              <p:cNvSpPr/>
              <p:nvPr/>
            </p:nvSpPr>
            <p:spPr>
              <a:xfrm>
                <a:off x="2915697" y="4114609"/>
                <a:ext cx="298513" cy="298513"/>
              </a:xfrm>
              <a:custGeom>
                <a:avLst/>
                <a:gdLst>
                  <a:gd name="connsiteX0" fmla="*/ 298513 w 298513"/>
                  <a:gd name="connsiteY0" fmla="*/ 149257 h 298513"/>
                  <a:gd name="connsiteX1" fmla="*/ 149257 w 298513"/>
                  <a:gd name="connsiteY1" fmla="*/ 298513 h 298513"/>
                  <a:gd name="connsiteX2" fmla="*/ 0 w 298513"/>
                  <a:gd name="connsiteY2" fmla="*/ 149257 h 298513"/>
                  <a:gd name="connsiteX3" fmla="*/ 149257 w 298513"/>
                  <a:gd name="connsiteY3" fmla="*/ 0 h 298513"/>
                  <a:gd name="connsiteX4" fmla="*/ 298513 w 298513"/>
                  <a:gd name="connsiteY4" fmla="*/ 149257 h 2985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98513" h="298513">
                    <a:moveTo>
                      <a:pt x="298513" y="149257"/>
                    </a:moveTo>
                    <a:cubicBezTo>
                      <a:pt x="298513" y="231648"/>
                      <a:pt x="231743" y="298513"/>
                      <a:pt x="149257" y="298513"/>
                    </a:cubicBezTo>
                    <a:cubicBezTo>
                      <a:pt x="66866" y="298513"/>
                      <a:pt x="0" y="231648"/>
                      <a:pt x="0" y="149257"/>
                    </a:cubicBezTo>
                    <a:cubicBezTo>
                      <a:pt x="0" y="66865"/>
                      <a:pt x="66866" y="0"/>
                      <a:pt x="149257" y="0"/>
                    </a:cubicBezTo>
                    <a:cubicBezTo>
                      <a:pt x="231743" y="95"/>
                      <a:pt x="298513" y="66865"/>
                      <a:pt x="298513" y="149257"/>
                    </a:cubicBezTo>
                    <a:close/>
                  </a:path>
                </a:pathLst>
              </a:custGeom>
              <a:solidFill>
                <a:srgbClr val="F2EED7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 sz="1800"/>
              </a:p>
            </p:txBody>
          </p:sp>
          <p:sp>
            <p:nvSpPr>
              <p:cNvPr id="44" name="ïṡḻîďè">
                <a:extLst>
                  <a:ext uri="{FF2B5EF4-FFF2-40B4-BE49-F238E27FC236}">
                    <a16:creationId xmlns:a16="http://schemas.microsoft.com/office/drawing/2014/main" id="{3AC36A5A-A1EF-4898-8FA8-DD8167B4C5C1}"/>
                  </a:ext>
                </a:extLst>
              </p:cNvPr>
              <p:cNvSpPr/>
              <p:nvPr/>
            </p:nvSpPr>
            <p:spPr>
              <a:xfrm>
                <a:off x="3008470" y="4204430"/>
                <a:ext cx="162687" cy="162687"/>
              </a:xfrm>
              <a:custGeom>
                <a:avLst/>
                <a:gdLst>
                  <a:gd name="connsiteX0" fmla="*/ 162687 w 162687"/>
                  <a:gd name="connsiteY0" fmla="*/ 81344 h 162687"/>
                  <a:gd name="connsiteX1" fmla="*/ 81344 w 162687"/>
                  <a:gd name="connsiteY1" fmla="*/ 162687 h 162687"/>
                  <a:gd name="connsiteX2" fmla="*/ 0 w 162687"/>
                  <a:gd name="connsiteY2" fmla="*/ 81344 h 162687"/>
                  <a:gd name="connsiteX3" fmla="*/ 81344 w 162687"/>
                  <a:gd name="connsiteY3" fmla="*/ 0 h 162687"/>
                  <a:gd name="connsiteX4" fmla="*/ 162687 w 162687"/>
                  <a:gd name="connsiteY4" fmla="*/ 81344 h 1626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2687" h="162687">
                    <a:moveTo>
                      <a:pt x="162687" y="81344"/>
                    </a:moveTo>
                    <a:cubicBezTo>
                      <a:pt x="162687" y="126302"/>
                      <a:pt x="126206" y="162687"/>
                      <a:pt x="81344" y="162687"/>
                    </a:cubicBezTo>
                    <a:cubicBezTo>
                      <a:pt x="36385" y="162687"/>
                      <a:pt x="0" y="126302"/>
                      <a:pt x="0" y="81344"/>
                    </a:cubicBezTo>
                    <a:cubicBezTo>
                      <a:pt x="0" y="36386"/>
                      <a:pt x="36481" y="0"/>
                      <a:pt x="81344" y="0"/>
                    </a:cubicBezTo>
                    <a:cubicBezTo>
                      <a:pt x="126206" y="-95"/>
                      <a:pt x="162687" y="36386"/>
                      <a:pt x="162687" y="81344"/>
                    </a:cubicBezTo>
                    <a:close/>
                  </a:path>
                </a:pathLst>
              </a:custGeom>
              <a:solidFill>
                <a:srgbClr val="F5898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 sz="1800"/>
              </a:p>
            </p:txBody>
          </p:sp>
          <p:sp>
            <p:nvSpPr>
              <p:cNvPr id="45" name="i$ḻíḑè">
                <a:extLst>
                  <a:ext uri="{FF2B5EF4-FFF2-40B4-BE49-F238E27FC236}">
                    <a16:creationId xmlns:a16="http://schemas.microsoft.com/office/drawing/2014/main" id="{7EEB0997-8969-43AD-B81B-8413F791CAAE}"/>
                  </a:ext>
                </a:extLst>
              </p:cNvPr>
              <p:cNvSpPr/>
              <p:nvPr/>
            </p:nvSpPr>
            <p:spPr>
              <a:xfrm>
                <a:off x="2780346" y="4120229"/>
                <a:ext cx="1949577" cy="1949576"/>
              </a:xfrm>
              <a:custGeom>
                <a:avLst/>
                <a:gdLst>
                  <a:gd name="connsiteX0" fmla="*/ 1949577 w 1949577"/>
                  <a:gd name="connsiteY0" fmla="*/ 974788 h 1949576"/>
                  <a:gd name="connsiteX1" fmla="*/ 974789 w 1949577"/>
                  <a:gd name="connsiteY1" fmla="*/ 1949577 h 1949576"/>
                  <a:gd name="connsiteX2" fmla="*/ 0 w 1949577"/>
                  <a:gd name="connsiteY2" fmla="*/ 974788 h 1949576"/>
                  <a:gd name="connsiteX3" fmla="*/ 974789 w 1949577"/>
                  <a:gd name="connsiteY3" fmla="*/ 0 h 1949576"/>
                  <a:gd name="connsiteX4" fmla="*/ 1949577 w 1949577"/>
                  <a:gd name="connsiteY4" fmla="*/ 974788 h 19495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949577" h="1949576">
                    <a:moveTo>
                      <a:pt x="1949577" y="974788"/>
                    </a:moveTo>
                    <a:cubicBezTo>
                      <a:pt x="1949577" y="1513141"/>
                      <a:pt x="1513142" y="1949577"/>
                      <a:pt x="974789" y="1949577"/>
                    </a:cubicBezTo>
                    <a:cubicBezTo>
                      <a:pt x="436436" y="1949577"/>
                      <a:pt x="0" y="1513141"/>
                      <a:pt x="0" y="974788"/>
                    </a:cubicBezTo>
                    <a:cubicBezTo>
                      <a:pt x="0" y="436436"/>
                      <a:pt x="436436" y="0"/>
                      <a:pt x="974789" y="0"/>
                    </a:cubicBezTo>
                    <a:cubicBezTo>
                      <a:pt x="1513142" y="0"/>
                      <a:pt x="1949577" y="436436"/>
                      <a:pt x="1949577" y="974788"/>
                    </a:cubicBezTo>
                    <a:close/>
                  </a:path>
                </a:pathLst>
              </a:custGeom>
              <a:solidFill>
                <a:srgbClr val="F2EED7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 sz="1800"/>
              </a:p>
            </p:txBody>
          </p:sp>
          <p:sp>
            <p:nvSpPr>
              <p:cNvPr id="46" name="ïṥḻîdê">
                <a:extLst>
                  <a:ext uri="{FF2B5EF4-FFF2-40B4-BE49-F238E27FC236}">
                    <a16:creationId xmlns:a16="http://schemas.microsoft.com/office/drawing/2014/main" id="{5F723802-A398-43CD-997D-0B5B5A36CA90}"/>
                  </a:ext>
                </a:extLst>
              </p:cNvPr>
              <p:cNvSpPr/>
              <p:nvPr/>
            </p:nvSpPr>
            <p:spPr>
              <a:xfrm rot="-4846898">
                <a:off x="3299182" y="4334593"/>
                <a:ext cx="196789" cy="196789"/>
              </a:xfrm>
              <a:custGeom>
                <a:avLst/>
                <a:gdLst>
                  <a:gd name="connsiteX0" fmla="*/ 196789 w 196789"/>
                  <a:gd name="connsiteY0" fmla="*/ 98395 h 196789"/>
                  <a:gd name="connsiteX1" fmla="*/ 98395 w 196789"/>
                  <a:gd name="connsiteY1" fmla="*/ 196789 h 196789"/>
                  <a:gd name="connsiteX2" fmla="*/ 0 w 196789"/>
                  <a:gd name="connsiteY2" fmla="*/ 98395 h 196789"/>
                  <a:gd name="connsiteX3" fmla="*/ 98395 w 196789"/>
                  <a:gd name="connsiteY3" fmla="*/ 0 h 196789"/>
                  <a:gd name="connsiteX4" fmla="*/ 196789 w 196789"/>
                  <a:gd name="connsiteY4" fmla="*/ 98395 h 1967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96789" h="196789">
                    <a:moveTo>
                      <a:pt x="196789" y="98395"/>
                    </a:moveTo>
                    <a:cubicBezTo>
                      <a:pt x="196789" y="152737"/>
                      <a:pt x="152737" y="196789"/>
                      <a:pt x="98395" y="196789"/>
                    </a:cubicBezTo>
                    <a:cubicBezTo>
                      <a:pt x="44053" y="196789"/>
                      <a:pt x="0" y="152736"/>
                      <a:pt x="0" y="98395"/>
                    </a:cubicBezTo>
                    <a:cubicBezTo>
                      <a:pt x="0" y="44053"/>
                      <a:pt x="44053" y="0"/>
                      <a:pt x="98395" y="0"/>
                    </a:cubicBezTo>
                    <a:cubicBezTo>
                      <a:pt x="152737" y="0"/>
                      <a:pt x="196789" y="44053"/>
                      <a:pt x="196789" y="98395"/>
                    </a:cubicBezTo>
                    <a:close/>
                  </a:path>
                </a:pathLst>
              </a:custGeom>
              <a:solidFill>
                <a:srgbClr val="7A2A2A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 sz="1800"/>
              </a:p>
            </p:txBody>
          </p:sp>
          <p:sp>
            <p:nvSpPr>
              <p:cNvPr id="47" name="ïsḷîďe">
                <a:extLst>
                  <a:ext uri="{FF2B5EF4-FFF2-40B4-BE49-F238E27FC236}">
                    <a16:creationId xmlns:a16="http://schemas.microsoft.com/office/drawing/2014/main" id="{0C18C9AC-8646-4E63-8871-BFE3234F335C}"/>
                  </a:ext>
                </a:extLst>
              </p:cNvPr>
              <p:cNvSpPr/>
              <p:nvPr/>
            </p:nvSpPr>
            <p:spPr>
              <a:xfrm>
                <a:off x="4007166" y="4334541"/>
                <a:ext cx="196786" cy="196786"/>
              </a:xfrm>
              <a:custGeom>
                <a:avLst/>
                <a:gdLst>
                  <a:gd name="connsiteX0" fmla="*/ 196787 w 196786"/>
                  <a:gd name="connsiteY0" fmla="*/ 98393 h 196786"/>
                  <a:gd name="connsiteX1" fmla="*/ 98393 w 196786"/>
                  <a:gd name="connsiteY1" fmla="*/ 196787 h 196786"/>
                  <a:gd name="connsiteX2" fmla="*/ 0 w 196786"/>
                  <a:gd name="connsiteY2" fmla="*/ 98393 h 196786"/>
                  <a:gd name="connsiteX3" fmla="*/ 98393 w 196786"/>
                  <a:gd name="connsiteY3" fmla="*/ 0 h 196786"/>
                  <a:gd name="connsiteX4" fmla="*/ 196787 w 196786"/>
                  <a:gd name="connsiteY4" fmla="*/ 98393 h 1967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96786" h="196786">
                    <a:moveTo>
                      <a:pt x="196787" y="98393"/>
                    </a:moveTo>
                    <a:cubicBezTo>
                      <a:pt x="196787" y="152781"/>
                      <a:pt x="152686" y="196787"/>
                      <a:pt x="98393" y="196787"/>
                    </a:cubicBezTo>
                    <a:cubicBezTo>
                      <a:pt x="44006" y="196787"/>
                      <a:pt x="0" y="152686"/>
                      <a:pt x="0" y="98393"/>
                    </a:cubicBezTo>
                    <a:cubicBezTo>
                      <a:pt x="0" y="44005"/>
                      <a:pt x="44101" y="0"/>
                      <a:pt x="98393" y="0"/>
                    </a:cubicBezTo>
                    <a:cubicBezTo>
                      <a:pt x="152781" y="0"/>
                      <a:pt x="196787" y="44101"/>
                      <a:pt x="196787" y="98393"/>
                    </a:cubicBezTo>
                    <a:close/>
                  </a:path>
                </a:pathLst>
              </a:custGeom>
              <a:solidFill>
                <a:srgbClr val="7A2A2A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 sz="1800"/>
              </a:p>
            </p:txBody>
          </p:sp>
          <p:sp>
            <p:nvSpPr>
              <p:cNvPr id="48" name="îş1ïḑé">
                <a:extLst>
                  <a:ext uri="{FF2B5EF4-FFF2-40B4-BE49-F238E27FC236}">
                    <a16:creationId xmlns:a16="http://schemas.microsoft.com/office/drawing/2014/main" id="{9663000A-9CBB-4CE2-A9D5-1A87F7F028AA}"/>
                  </a:ext>
                </a:extLst>
              </p:cNvPr>
              <p:cNvSpPr/>
              <p:nvPr/>
            </p:nvSpPr>
            <p:spPr>
              <a:xfrm>
                <a:off x="3419664" y="4559331"/>
                <a:ext cx="646556" cy="351853"/>
              </a:xfrm>
              <a:custGeom>
                <a:avLst/>
                <a:gdLst>
                  <a:gd name="connsiteX0" fmla="*/ 323279 w 646556"/>
                  <a:gd name="connsiteY0" fmla="*/ 351853 h 351853"/>
                  <a:gd name="connsiteX1" fmla="*/ 0 w 646556"/>
                  <a:gd name="connsiteY1" fmla="*/ 28575 h 351853"/>
                  <a:gd name="connsiteX2" fmla="*/ 28575 w 646556"/>
                  <a:gd name="connsiteY2" fmla="*/ 0 h 351853"/>
                  <a:gd name="connsiteX3" fmla="*/ 57150 w 646556"/>
                  <a:gd name="connsiteY3" fmla="*/ 28575 h 351853"/>
                  <a:gd name="connsiteX4" fmla="*/ 323279 w 646556"/>
                  <a:gd name="connsiteY4" fmla="*/ 294703 h 351853"/>
                  <a:gd name="connsiteX5" fmla="*/ 589407 w 646556"/>
                  <a:gd name="connsiteY5" fmla="*/ 28575 h 351853"/>
                  <a:gd name="connsiteX6" fmla="*/ 617982 w 646556"/>
                  <a:gd name="connsiteY6" fmla="*/ 0 h 351853"/>
                  <a:gd name="connsiteX7" fmla="*/ 646557 w 646556"/>
                  <a:gd name="connsiteY7" fmla="*/ 28575 h 351853"/>
                  <a:gd name="connsiteX8" fmla="*/ 323279 w 646556"/>
                  <a:gd name="connsiteY8" fmla="*/ 351853 h 3518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646556" h="351853">
                    <a:moveTo>
                      <a:pt x="323279" y="351853"/>
                    </a:moveTo>
                    <a:cubicBezTo>
                      <a:pt x="145066" y="351853"/>
                      <a:pt x="0" y="206883"/>
                      <a:pt x="0" y="28575"/>
                    </a:cubicBezTo>
                    <a:cubicBezTo>
                      <a:pt x="0" y="12763"/>
                      <a:pt x="12764" y="0"/>
                      <a:pt x="28575" y="0"/>
                    </a:cubicBezTo>
                    <a:cubicBezTo>
                      <a:pt x="44387" y="0"/>
                      <a:pt x="57150" y="12763"/>
                      <a:pt x="57150" y="28575"/>
                    </a:cubicBezTo>
                    <a:cubicBezTo>
                      <a:pt x="57150" y="175260"/>
                      <a:pt x="176498" y="294703"/>
                      <a:pt x="323279" y="294703"/>
                    </a:cubicBezTo>
                    <a:cubicBezTo>
                      <a:pt x="470059" y="294703"/>
                      <a:pt x="589407" y="175355"/>
                      <a:pt x="589407" y="28575"/>
                    </a:cubicBezTo>
                    <a:cubicBezTo>
                      <a:pt x="589407" y="12763"/>
                      <a:pt x="602171" y="0"/>
                      <a:pt x="617982" y="0"/>
                    </a:cubicBezTo>
                    <a:cubicBezTo>
                      <a:pt x="633794" y="0"/>
                      <a:pt x="646557" y="12763"/>
                      <a:pt x="646557" y="28575"/>
                    </a:cubicBezTo>
                    <a:cubicBezTo>
                      <a:pt x="646462" y="206883"/>
                      <a:pt x="501491" y="351853"/>
                      <a:pt x="323279" y="351853"/>
                    </a:cubicBezTo>
                    <a:close/>
                  </a:path>
                </a:pathLst>
              </a:custGeom>
              <a:solidFill>
                <a:srgbClr val="883827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 sz="1800"/>
              </a:p>
            </p:txBody>
          </p:sp>
          <p:sp>
            <p:nvSpPr>
              <p:cNvPr id="49" name="ïSḷíḓe">
                <a:extLst>
                  <a:ext uri="{FF2B5EF4-FFF2-40B4-BE49-F238E27FC236}">
                    <a16:creationId xmlns:a16="http://schemas.microsoft.com/office/drawing/2014/main" id="{7ABD814B-0974-4433-A330-219E65B6F1C8}"/>
                  </a:ext>
                </a:extLst>
              </p:cNvPr>
              <p:cNvSpPr/>
              <p:nvPr/>
            </p:nvSpPr>
            <p:spPr>
              <a:xfrm>
                <a:off x="4287297" y="4086891"/>
                <a:ext cx="298513" cy="298513"/>
              </a:xfrm>
              <a:custGeom>
                <a:avLst/>
                <a:gdLst>
                  <a:gd name="connsiteX0" fmla="*/ 298513 w 298513"/>
                  <a:gd name="connsiteY0" fmla="*/ 149257 h 298513"/>
                  <a:gd name="connsiteX1" fmla="*/ 149257 w 298513"/>
                  <a:gd name="connsiteY1" fmla="*/ 298513 h 298513"/>
                  <a:gd name="connsiteX2" fmla="*/ 0 w 298513"/>
                  <a:gd name="connsiteY2" fmla="*/ 149257 h 298513"/>
                  <a:gd name="connsiteX3" fmla="*/ 149257 w 298513"/>
                  <a:gd name="connsiteY3" fmla="*/ 0 h 298513"/>
                  <a:gd name="connsiteX4" fmla="*/ 298513 w 298513"/>
                  <a:gd name="connsiteY4" fmla="*/ 149257 h 2985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98513" h="298513">
                    <a:moveTo>
                      <a:pt x="298513" y="149257"/>
                    </a:moveTo>
                    <a:cubicBezTo>
                      <a:pt x="298513" y="231648"/>
                      <a:pt x="231648" y="298513"/>
                      <a:pt x="149257" y="298513"/>
                    </a:cubicBezTo>
                    <a:cubicBezTo>
                      <a:pt x="66866" y="298513"/>
                      <a:pt x="0" y="231743"/>
                      <a:pt x="0" y="149257"/>
                    </a:cubicBezTo>
                    <a:cubicBezTo>
                      <a:pt x="0" y="66865"/>
                      <a:pt x="66770" y="0"/>
                      <a:pt x="149257" y="0"/>
                    </a:cubicBezTo>
                    <a:cubicBezTo>
                      <a:pt x="231648" y="0"/>
                      <a:pt x="298513" y="66770"/>
                      <a:pt x="298513" y="149257"/>
                    </a:cubicBezTo>
                    <a:close/>
                  </a:path>
                </a:pathLst>
              </a:custGeom>
              <a:solidFill>
                <a:srgbClr val="F2EED7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 sz="1800"/>
              </a:p>
            </p:txBody>
          </p:sp>
          <p:sp>
            <p:nvSpPr>
              <p:cNvPr id="50" name="íŝlïḓè">
                <a:extLst>
                  <a:ext uri="{FF2B5EF4-FFF2-40B4-BE49-F238E27FC236}">
                    <a16:creationId xmlns:a16="http://schemas.microsoft.com/office/drawing/2014/main" id="{78E8C4DA-D244-4B8F-8F49-6E937D0DA624}"/>
                  </a:ext>
                </a:extLst>
              </p:cNvPr>
              <p:cNvSpPr/>
              <p:nvPr/>
            </p:nvSpPr>
            <p:spPr>
              <a:xfrm>
                <a:off x="3510057" y="4474273"/>
                <a:ext cx="459009" cy="219075"/>
              </a:xfrm>
              <a:custGeom>
                <a:avLst/>
                <a:gdLst>
                  <a:gd name="connsiteX0" fmla="*/ 459010 w 459009"/>
                  <a:gd name="connsiteY0" fmla="*/ 109538 h 219075"/>
                  <a:gd name="connsiteX1" fmla="*/ 229457 w 459009"/>
                  <a:gd name="connsiteY1" fmla="*/ 219075 h 219075"/>
                  <a:gd name="connsiteX2" fmla="*/ 0 w 459009"/>
                  <a:gd name="connsiteY2" fmla="*/ 109538 h 219075"/>
                  <a:gd name="connsiteX3" fmla="*/ 229457 w 459009"/>
                  <a:gd name="connsiteY3" fmla="*/ 0 h 219075"/>
                  <a:gd name="connsiteX4" fmla="*/ 459010 w 459009"/>
                  <a:gd name="connsiteY4" fmla="*/ 109538 h 2190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59009" h="219075">
                    <a:moveTo>
                      <a:pt x="459010" y="109538"/>
                    </a:moveTo>
                    <a:cubicBezTo>
                      <a:pt x="459010" y="170021"/>
                      <a:pt x="356235" y="219075"/>
                      <a:pt x="229457" y="219075"/>
                    </a:cubicBezTo>
                    <a:cubicBezTo>
                      <a:pt x="102679" y="219075"/>
                      <a:pt x="0" y="170021"/>
                      <a:pt x="0" y="109538"/>
                    </a:cubicBezTo>
                    <a:cubicBezTo>
                      <a:pt x="0" y="49054"/>
                      <a:pt x="102775" y="0"/>
                      <a:pt x="229457" y="0"/>
                    </a:cubicBezTo>
                    <a:cubicBezTo>
                      <a:pt x="356235" y="0"/>
                      <a:pt x="459010" y="49054"/>
                      <a:pt x="459010" y="109538"/>
                    </a:cubicBezTo>
                    <a:close/>
                  </a:path>
                </a:pathLst>
              </a:custGeom>
              <a:solidFill>
                <a:srgbClr val="CD3C4C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 sz="1800"/>
              </a:p>
            </p:txBody>
          </p:sp>
          <p:sp>
            <p:nvSpPr>
              <p:cNvPr id="51" name="ïSḻïḑe">
                <a:extLst>
                  <a:ext uri="{FF2B5EF4-FFF2-40B4-BE49-F238E27FC236}">
                    <a16:creationId xmlns:a16="http://schemas.microsoft.com/office/drawing/2014/main" id="{46C8BF35-1C31-468B-A955-D346B4D28918}"/>
                  </a:ext>
                </a:extLst>
              </p:cNvPr>
              <p:cNvSpPr/>
              <p:nvPr/>
            </p:nvSpPr>
            <p:spPr>
              <a:xfrm rot="-4703943">
                <a:off x="4116977" y="4525544"/>
                <a:ext cx="218319" cy="218319"/>
              </a:xfrm>
              <a:custGeom>
                <a:avLst/>
                <a:gdLst>
                  <a:gd name="connsiteX0" fmla="*/ 218319 w 218319"/>
                  <a:gd name="connsiteY0" fmla="*/ 109160 h 218319"/>
                  <a:gd name="connsiteX1" fmla="*/ 109160 w 218319"/>
                  <a:gd name="connsiteY1" fmla="*/ 218319 h 218319"/>
                  <a:gd name="connsiteX2" fmla="*/ 0 w 218319"/>
                  <a:gd name="connsiteY2" fmla="*/ 109160 h 218319"/>
                  <a:gd name="connsiteX3" fmla="*/ 109160 w 218319"/>
                  <a:gd name="connsiteY3" fmla="*/ 0 h 218319"/>
                  <a:gd name="connsiteX4" fmla="*/ 218319 w 218319"/>
                  <a:gd name="connsiteY4" fmla="*/ 109160 h 2183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18319" h="218319">
                    <a:moveTo>
                      <a:pt x="218319" y="109160"/>
                    </a:moveTo>
                    <a:cubicBezTo>
                      <a:pt x="218319" y="169447"/>
                      <a:pt x="169447" y="218319"/>
                      <a:pt x="109160" y="218319"/>
                    </a:cubicBezTo>
                    <a:cubicBezTo>
                      <a:pt x="48872" y="218319"/>
                      <a:pt x="0" y="169447"/>
                      <a:pt x="0" y="109160"/>
                    </a:cubicBezTo>
                    <a:cubicBezTo>
                      <a:pt x="0" y="48872"/>
                      <a:pt x="48872" y="0"/>
                      <a:pt x="109160" y="0"/>
                    </a:cubicBezTo>
                    <a:cubicBezTo>
                      <a:pt x="169447" y="0"/>
                      <a:pt x="218319" y="48873"/>
                      <a:pt x="218319" y="109160"/>
                    </a:cubicBezTo>
                    <a:close/>
                  </a:path>
                </a:pathLst>
              </a:custGeom>
              <a:solidFill>
                <a:srgbClr val="F5898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 sz="1800"/>
              </a:p>
            </p:txBody>
          </p:sp>
          <p:sp>
            <p:nvSpPr>
              <p:cNvPr id="52" name="iŝḻîḍé">
                <a:extLst>
                  <a:ext uri="{FF2B5EF4-FFF2-40B4-BE49-F238E27FC236}">
                    <a16:creationId xmlns:a16="http://schemas.microsoft.com/office/drawing/2014/main" id="{C36EC6CD-70FC-47D2-A836-EE40A2C76DFC}"/>
                  </a:ext>
                </a:extLst>
              </p:cNvPr>
              <p:cNvSpPr/>
              <p:nvPr/>
            </p:nvSpPr>
            <p:spPr>
              <a:xfrm rot="-5209801">
                <a:off x="3131026" y="4525426"/>
                <a:ext cx="218319" cy="218319"/>
              </a:xfrm>
              <a:custGeom>
                <a:avLst/>
                <a:gdLst>
                  <a:gd name="connsiteX0" fmla="*/ 218320 w 218319"/>
                  <a:gd name="connsiteY0" fmla="*/ 109160 h 218319"/>
                  <a:gd name="connsiteX1" fmla="*/ 109160 w 218319"/>
                  <a:gd name="connsiteY1" fmla="*/ 218320 h 218319"/>
                  <a:gd name="connsiteX2" fmla="*/ 0 w 218319"/>
                  <a:gd name="connsiteY2" fmla="*/ 109160 h 218319"/>
                  <a:gd name="connsiteX3" fmla="*/ 109160 w 218319"/>
                  <a:gd name="connsiteY3" fmla="*/ 0 h 218319"/>
                  <a:gd name="connsiteX4" fmla="*/ 218320 w 218319"/>
                  <a:gd name="connsiteY4" fmla="*/ 109160 h 2183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18319" h="218319">
                    <a:moveTo>
                      <a:pt x="218320" y="109160"/>
                    </a:moveTo>
                    <a:cubicBezTo>
                      <a:pt x="218320" y="169447"/>
                      <a:pt x="169447" y="218320"/>
                      <a:pt x="109160" y="218320"/>
                    </a:cubicBezTo>
                    <a:cubicBezTo>
                      <a:pt x="48873" y="218320"/>
                      <a:pt x="0" y="169447"/>
                      <a:pt x="0" y="109160"/>
                    </a:cubicBezTo>
                    <a:cubicBezTo>
                      <a:pt x="0" y="48872"/>
                      <a:pt x="48873" y="0"/>
                      <a:pt x="109160" y="0"/>
                    </a:cubicBezTo>
                    <a:cubicBezTo>
                      <a:pt x="169447" y="0"/>
                      <a:pt x="218320" y="48873"/>
                      <a:pt x="218320" y="109160"/>
                    </a:cubicBezTo>
                    <a:close/>
                  </a:path>
                </a:pathLst>
              </a:custGeom>
              <a:solidFill>
                <a:srgbClr val="F5898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 sz="1800"/>
              </a:p>
            </p:txBody>
          </p:sp>
          <p:sp>
            <p:nvSpPr>
              <p:cNvPr id="53" name="îsľïdê">
                <a:extLst>
                  <a:ext uri="{FF2B5EF4-FFF2-40B4-BE49-F238E27FC236}">
                    <a16:creationId xmlns:a16="http://schemas.microsoft.com/office/drawing/2014/main" id="{73EC4E92-3686-4447-9550-D61B2765D0C9}"/>
                  </a:ext>
                </a:extLst>
              </p:cNvPr>
              <p:cNvSpPr/>
              <p:nvPr/>
            </p:nvSpPr>
            <p:spPr>
              <a:xfrm>
                <a:off x="3240023" y="5425344"/>
                <a:ext cx="1037081" cy="644366"/>
              </a:xfrm>
              <a:custGeom>
                <a:avLst/>
                <a:gdLst>
                  <a:gd name="connsiteX0" fmla="*/ 518541 w 1037081"/>
                  <a:gd name="connsiteY0" fmla="*/ 0 h 644366"/>
                  <a:gd name="connsiteX1" fmla="*/ 0 w 1037081"/>
                  <a:gd name="connsiteY1" fmla="*/ 495110 h 644366"/>
                  <a:gd name="connsiteX2" fmla="*/ 518541 w 1037081"/>
                  <a:gd name="connsiteY2" fmla="*/ 644366 h 644366"/>
                  <a:gd name="connsiteX3" fmla="*/ 1037082 w 1037081"/>
                  <a:gd name="connsiteY3" fmla="*/ 495110 h 644366"/>
                  <a:gd name="connsiteX4" fmla="*/ 518541 w 1037081"/>
                  <a:gd name="connsiteY4" fmla="*/ 0 h 6443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037081" h="644366">
                    <a:moveTo>
                      <a:pt x="518541" y="0"/>
                    </a:moveTo>
                    <a:cubicBezTo>
                      <a:pt x="239839" y="0"/>
                      <a:pt x="12573" y="219551"/>
                      <a:pt x="0" y="495110"/>
                    </a:cubicBezTo>
                    <a:cubicBezTo>
                      <a:pt x="150209" y="589693"/>
                      <a:pt x="327946" y="644366"/>
                      <a:pt x="518541" y="644366"/>
                    </a:cubicBezTo>
                    <a:cubicBezTo>
                      <a:pt x="709136" y="644366"/>
                      <a:pt x="886873" y="589597"/>
                      <a:pt x="1037082" y="495110"/>
                    </a:cubicBezTo>
                    <a:cubicBezTo>
                      <a:pt x="1024509" y="219646"/>
                      <a:pt x="797243" y="0"/>
                      <a:pt x="518541" y="0"/>
                    </a:cubicBezTo>
                    <a:close/>
                  </a:path>
                </a:pathLst>
              </a:custGeom>
              <a:solidFill>
                <a:srgbClr val="DDCFA3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 sz="1800"/>
              </a:p>
            </p:txBody>
          </p:sp>
          <p:sp>
            <p:nvSpPr>
              <p:cNvPr id="54" name="isḷíḑè">
                <a:extLst>
                  <a:ext uri="{FF2B5EF4-FFF2-40B4-BE49-F238E27FC236}">
                    <a16:creationId xmlns:a16="http://schemas.microsoft.com/office/drawing/2014/main" id="{54CBD275-E58B-4D10-885F-F95F446983FF}"/>
                  </a:ext>
                </a:extLst>
              </p:cNvPr>
              <p:cNvSpPr/>
              <p:nvPr/>
            </p:nvSpPr>
            <p:spPr>
              <a:xfrm>
                <a:off x="3780662" y="4517326"/>
                <a:ext cx="51054" cy="51053"/>
              </a:xfrm>
              <a:custGeom>
                <a:avLst/>
                <a:gdLst>
                  <a:gd name="connsiteX0" fmla="*/ 51054 w 51054"/>
                  <a:gd name="connsiteY0" fmla="*/ 25527 h 51053"/>
                  <a:gd name="connsiteX1" fmla="*/ 25527 w 51054"/>
                  <a:gd name="connsiteY1" fmla="*/ 51054 h 51053"/>
                  <a:gd name="connsiteX2" fmla="*/ 0 w 51054"/>
                  <a:gd name="connsiteY2" fmla="*/ 25527 h 51053"/>
                  <a:gd name="connsiteX3" fmla="*/ 25527 w 51054"/>
                  <a:gd name="connsiteY3" fmla="*/ 0 h 51053"/>
                  <a:gd name="connsiteX4" fmla="*/ 51054 w 51054"/>
                  <a:gd name="connsiteY4" fmla="*/ 25527 h 510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1054" h="51053">
                    <a:moveTo>
                      <a:pt x="51054" y="25527"/>
                    </a:moveTo>
                    <a:cubicBezTo>
                      <a:pt x="51054" y="39624"/>
                      <a:pt x="39624" y="51054"/>
                      <a:pt x="25527" y="51054"/>
                    </a:cubicBezTo>
                    <a:cubicBezTo>
                      <a:pt x="11430" y="51054"/>
                      <a:pt x="0" y="39624"/>
                      <a:pt x="0" y="25527"/>
                    </a:cubicBezTo>
                    <a:cubicBezTo>
                      <a:pt x="0" y="11430"/>
                      <a:pt x="11430" y="0"/>
                      <a:pt x="25527" y="0"/>
                    </a:cubicBezTo>
                    <a:cubicBezTo>
                      <a:pt x="39624" y="0"/>
                      <a:pt x="51054" y="11430"/>
                      <a:pt x="51054" y="25527"/>
                    </a:cubicBezTo>
                    <a:close/>
                  </a:path>
                </a:pathLst>
              </a:custGeom>
              <a:solidFill>
                <a:srgbClr val="F2EED7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 sz="1800"/>
              </a:p>
            </p:txBody>
          </p:sp>
          <p:sp>
            <p:nvSpPr>
              <p:cNvPr id="55" name="îṡḻîḋè">
                <a:extLst>
                  <a:ext uri="{FF2B5EF4-FFF2-40B4-BE49-F238E27FC236}">
                    <a16:creationId xmlns:a16="http://schemas.microsoft.com/office/drawing/2014/main" id="{7C3EA96E-1602-423D-8FE0-06F56F294EC2}"/>
                  </a:ext>
                </a:extLst>
              </p:cNvPr>
              <p:cNvSpPr/>
              <p:nvPr/>
            </p:nvSpPr>
            <p:spPr>
              <a:xfrm>
                <a:off x="3520471" y="4517326"/>
                <a:ext cx="421354" cy="166577"/>
              </a:xfrm>
              <a:custGeom>
                <a:avLst/>
                <a:gdLst>
                  <a:gd name="connsiteX0" fmla="*/ 421354 w 421354"/>
                  <a:gd name="connsiteY0" fmla="*/ 92678 h 166577"/>
                  <a:gd name="connsiteX1" fmla="*/ 47974 w 421354"/>
                  <a:gd name="connsiteY1" fmla="*/ 0 h 166577"/>
                  <a:gd name="connsiteX2" fmla="*/ 2349 w 421354"/>
                  <a:gd name="connsiteY2" fmla="*/ 85915 h 166577"/>
                  <a:gd name="connsiteX3" fmla="*/ 421354 w 421354"/>
                  <a:gd name="connsiteY3" fmla="*/ 92678 h 1665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21354" h="166577">
                    <a:moveTo>
                      <a:pt x="421354" y="92678"/>
                    </a:moveTo>
                    <a:cubicBezTo>
                      <a:pt x="421354" y="92678"/>
                      <a:pt x="174276" y="202787"/>
                      <a:pt x="47974" y="0"/>
                    </a:cubicBezTo>
                    <a:cubicBezTo>
                      <a:pt x="47974" y="0"/>
                      <a:pt x="-12510" y="41624"/>
                      <a:pt x="2349" y="85915"/>
                    </a:cubicBezTo>
                    <a:cubicBezTo>
                      <a:pt x="17113" y="130302"/>
                      <a:pt x="270954" y="239077"/>
                      <a:pt x="421354" y="92678"/>
                    </a:cubicBezTo>
                    <a:close/>
                  </a:path>
                </a:pathLst>
              </a:custGeom>
              <a:solidFill>
                <a:srgbClr val="B53A3C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 sz="1800"/>
              </a:p>
            </p:txBody>
          </p:sp>
          <p:sp>
            <p:nvSpPr>
              <p:cNvPr id="56" name="îšľíḓê">
                <a:extLst>
                  <a:ext uri="{FF2B5EF4-FFF2-40B4-BE49-F238E27FC236}">
                    <a16:creationId xmlns:a16="http://schemas.microsoft.com/office/drawing/2014/main" id="{08E35ABE-1F4B-4BBD-9D5B-C590A78986CF}"/>
                  </a:ext>
                </a:extLst>
              </p:cNvPr>
              <p:cNvSpPr/>
              <p:nvPr/>
            </p:nvSpPr>
            <p:spPr>
              <a:xfrm>
                <a:off x="4335207" y="4204430"/>
                <a:ext cx="162687" cy="162687"/>
              </a:xfrm>
              <a:custGeom>
                <a:avLst/>
                <a:gdLst>
                  <a:gd name="connsiteX0" fmla="*/ 162687 w 162687"/>
                  <a:gd name="connsiteY0" fmla="*/ 81344 h 162687"/>
                  <a:gd name="connsiteX1" fmla="*/ 81343 w 162687"/>
                  <a:gd name="connsiteY1" fmla="*/ 162687 h 162687"/>
                  <a:gd name="connsiteX2" fmla="*/ 0 w 162687"/>
                  <a:gd name="connsiteY2" fmla="*/ 81344 h 162687"/>
                  <a:gd name="connsiteX3" fmla="*/ 81343 w 162687"/>
                  <a:gd name="connsiteY3" fmla="*/ 0 h 162687"/>
                  <a:gd name="connsiteX4" fmla="*/ 162687 w 162687"/>
                  <a:gd name="connsiteY4" fmla="*/ 81344 h 1626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2687" h="162687">
                    <a:moveTo>
                      <a:pt x="162687" y="81344"/>
                    </a:moveTo>
                    <a:cubicBezTo>
                      <a:pt x="162687" y="126302"/>
                      <a:pt x="126301" y="162687"/>
                      <a:pt x="81343" y="162687"/>
                    </a:cubicBezTo>
                    <a:cubicBezTo>
                      <a:pt x="36386" y="162687"/>
                      <a:pt x="0" y="126302"/>
                      <a:pt x="0" y="81344"/>
                    </a:cubicBezTo>
                    <a:cubicBezTo>
                      <a:pt x="0" y="36386"/>
                      <a:pt x="36481" y="0"/>
                      <a:pt x="81343" y="0"/>
                    </a:cubicBezTo>
                    <a:cubicBezTo>
                      <a:pt x="126301" y="-95"/>
                      <a:pt x="162687" y="36386"/>
                      <a:pt x="162687" y="81344"/>
                    </a:cubicBezTo>
                    <a:close/>
                  </a:path>
                </a:pathLst>
              </a:custGeom>
              <a:solidFill>
                <a:srgbClr val="F5898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 sz="1800"/>
              </a:p>
            </p:txBody>
          </p:sp>
          <p:grpSp>
            <p:nvGrpSpPr>
              <p:cNvPr id="57" name="图形 5">
                <a:extLst>
                  <a:ext uri="{FF2B5EF4-FFF2-40B4-BE49-F238E27FC236}">
                    <a16:creationId xmlns:a16="http://schemas.microsoft.com/office/drawing/2014/main" id="{504E0568-1926-4833-9565-24F876FC07DF}"/>
                  </a:ext>
                </a:extLst>
              </p:cNvPr>
              <p:cNvGrpSpPr/>
              <p:nvPr/>
            </p:nvGrpSpPr>
            <p:grpSpPr>
              <a:xfrm>
                <a:off x="3468055" y="5217318"/>
                <a:ext cx="1174905" cy="753427"/>
                <a:chOff x="3468055" y="5217318"/>
                <a:chExt cx="1174905" cy="753427"/>
              </a:xfrm>
              <a:solidFill>
                <a:srgbClr val="F2EED7">
                  <a:alpha val="50000"/>
                </a:srgbClr>
              </a:solidFill>
            </p:grpSpPr>
            <p:sp>
              <p:nvSpPr>
                <p:cNvPr id="71" name="iṥľiḓê">
                  <a:extLst>
                    <a:ext uri="{FF2B5EF4-FFF2-40B4-BE49-F238E27FC236}">
                      <a16:creationId xmlns:a16="http://schemas.microsoft.com/office/drawing/2014/main" id="{954E3D94-5EFC-4801-9AB8-95279C99A278}"/>
                    </a:ext>
                  </a:extLst>
                </p:cNvPr>
                <p:cNvSpPr/>
                <p:nvPr/>
              </p:nvSpPr>
              <p:spPr>
                <a:xfrm>
                  <a:off x="3468055" y="5355720"/>
                  <a:ext cx="1127276" cy="615025"/>
                </a:xfrm>
                <a:custGeom>
                  <a:avLst/>
                  <a:gdLst>
                    <a:gd name="connsiteX0" fmla="*/ 324990 w 1127276"/>
                    <a:gd name="connsiteY0" fmla="*/ 615025 h 615025"/>
                    <a:gd name="connsiteX1" fmla="*/ 28000 w 1127276"/>
                    <a:gd name="connsiteY1" fmla="*/ 561400 h 615025"/>
                    <a:gd name="connsiteX2" fmla="*/ 2663 w 1127276"/>
                    <a:gd name="connsiteY2" fmla="*/ 506345 h 615025"/>
                    <a:gd name="connsiteX3" fmla="*/ 57718 w 1127276"/>
                    <a:gd name="connsiteY3" fmla="*/ 481009 h 615025"/>
                    <a:gd name="connsiteX4" fmla="*/ 644839 w 1127276"/>
                    <a:gd name="connsiteY4" fmla="*/ 458816 h 615025"/>
                    <a:gd name="connsiteX5" fmla="*/ 1044222 w 1127276"/>
                    <a:gd name="connsiteY5" fmla="*/ 28000 h 615025"/>
                    <a:gd name="connsiteX6" fmla="*/ 1099277 w 1127276"/>
                    <a:gd name="connsiteY6" fmla="*/ 2663 h 615025"/>
                    <a:gd name="connsiteX7" fmla="*/ 1124613 w 1127276"/>
                    <a:gd name="connsiteY7" fmla="*/ 57718 h 615025"/>
                    <a:gd name="connsiteX8" fmla="*/ 680558 w 1127276"/>
                    <a:gd name="connsiteY8" fmla="*/ 536730 h 615025"/>
                    <a:gd name="connsiteX9" fmla="*/ 324990 w 1127276"/>
                    <a:gd name="connsiteY9" fmla="*/ 615025 h 61502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1127276" h="615025">
                      <a:moveTo>
                        <a:pt x="324990" y="615025"/>
                      </a:moveTo>
                      <a:cubicBezTo>
                        <a:pt x="224882" y="615025"/>
                        <a:pt x="124679" y="597214"/>
                        <a:pt x="28000" y="561400"/>
                      </a:cubicBezTo>
                      <a:cubicBezTo>
                        <a:pt x="5807" y="553208"/>
                        <a:pt x="-5528" y="528539"/>
                        <a:pt x="2663" y="506345"/>
                      </a:cubicBezTo>
                      <a:cubicBezTo>
                        <a:pt x="10855" y="484152"/>
                        <a:pt x="35525" y="472817"/>
                        <a:pt x="57718" y="481009"/>
                      </a:cubicBezTo>
                      <a:cubicBezTo>
                        <a:pt x="250028" y="552256"/>
                        <a:pt x="458530" y="544350"/>
                        <a:pt x="644839" y="458816"/>
                      </a:cubicBezTo>
                      <a:cubicBezTo>
                        <a:pt x="831148" y="373281"/>
                        <a:pt x="973070" y="220214"/>
                        <a:pt x="1044222" y="28000"/>
                      </a:cubicBezTo>
                      <a:cubicBezTo>
                        <a:pt x="1052414" y="5807"/>
                        <a:pt x="1077084" y="-5528"/>
                        <a:pt x="1099277" y="2663"/>
                      </a:cubicBezTo>
                      <a:cubicBezTo>
                        <a:pt x="1121470" y="10855"/>
                        <a:pt x="1132805" y="35525"/>
                        <a:pt x="1124613" y="57718"/>
                      </a:cubicBezTo>
                      <a:cubicBezTo>
                        <a:pt x="1045461" y="271459"/>
                        <a:pt x="887727" y="441576"/>
                        <a:pt x="680558" y="536730"/>
                      </a:cubicBezTo>
                      <a:cubicBezTo>
                        <a:pt x="567210" y="588832"/>
                        <a:pt x="446338" y="615025"/>
                        <a:pt x="324990" y="615025"/>
                      </a:cubicBezTo>
                      <a:close/>
                    </a:path>
                  </a:pathLst>
                </a:custGeom>
                <a:solidFill>
                  <a:srgbClr val="F2EED7">
                    <a:alpha val="50000"/>
                  </a:srgbClr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 sz="1800"/>
                </a:p>
              </p:txBody>
            </p:sp>
            <p:sp>
              <p:nvSpPr>
                <p:cNvPr id="72" name="îśļiďé">
                  <a:extLst>
                    <a:ext uri="{FF2B5EF4-FFF2-40B4-BE49-F238E27FC236}">
                      <a16:creationId xmlns:a16="http://schemas.microsoft.com/office/drawing/2014/main" id="{2CF8B87F-66DF-48D4-9397-2B7EE55F32C9}"/>
                    </a:ext>
                  </a:extLst>
                </p:cNvPr>
                <p:cNvSpPr/>
                <p:nvPr/>
              </p:nvSpPr>
              <p:spPr>
                <a:xfrm>
                  <a:off x="4543138" y="5217318"/>
                  <a:ext cx="99821" cy="99822"/>
                </a:xfrm>
                <a:custGeom>
                  <a:avLst/>
                  <a:gdLst>
                    <a:gd name="connsiteX0" fmla="*/ 49911 w 99821"/>
                    <a:gd name="connsiteY0" fmla="*/ 99822 h 99822"/>
                    <a:gd name="connsiteX1" fmla="*/ 0 w 99821"/>
                    <a:gd name="connsiteY1" fmla="*/ 49911 h 99822"/>
                    <a:gd name="connsiteX2" fmla="*/ 49911 w 99821"/>
                    <a:gd name="connsiteY2" fmla="*/ 0 h 99822"/>
                    <a:gd name="connsiteX3" fmla="*/ 99822 w 99821"/>
                    <a:gd name="connsiteY3" fmla="*/ 49911 h 99822"/>
                    <a:gd name="connsiteX4" fmla="*/ 49911 w 99821"/>
                    <a:gd name="connsiteY4" fmla="*/ 99822 h 998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99821" h="99822">
                      <a:moveTo>
                        <a:pt x="49911" y="99822"/>
                      </a:moveTo>
                      <a:cubicBezTo>
                        <a:pt x="22384" y="99822"/>
                        <a:pt x="0" y="77438"/>
                        <a:pt x="0" y="49911"/>
                      </a:cubicBezTo>
                      <a:cubicBezTo>
                        <a:pt x="0" y="22384"/>
                        <a:pt x="22384" y="0"/>
                        <a:pt x="49911" y="0"/>
                      </a:cubicBezTo>
                      <a:cubicBezTo>
                        <a:pt x="77438" y="0"/>
                        <a:pt x="99822" y="22384"/>
                        <a:pt x="99822" y="49911"/>
                      </a:cubicBezTo>
                      <a:cubicBezTo>
                        <a:pt x="99822" y="77438"/>
                        <a:pt x="77438" y="99822"/>
                        <a:pt x="49911" y="99822"/>
                      </a:cubicBezTo>
                      <a:close/>
                    </a:path>
                  </a:pathLst>
                </a:custGeom>
                <a:solidFill>
                  <a:srgbClr val="F2EED7">
                    <a:alpha val="50000"/>
                  </a:srgbClr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 sz="1800"/>
                </a:p>
              </p:txBody>
            </p:sp>
          </p:grpSp>
          <p:sp>
            <p:nvSpPr>
              <p:cNvPr id="58" name="ïṣļíḓé">
                <a:extLst>
                  <a:ext uri="{FF2B5EF4-FFF2-40B4-BE49-F238E27FC236}">
                    <a16:creationId xmlns:a16="http://schemas.microsoft.com/office/drawing/2014/main" id="{18B9C3B1-030F-4986-8E44-2621E15DE031}"/>
                  </a:ext>
                </a:extLst>
              </p:cNvPr>
              <p:cNvSpPr/>
              <p:nvPr/>
            </p:nvSpPr>
            <p:spPr>
              <a:xfrm>
                <a:off x="2759772" y="5025390"/>
                <a:ext cx="1977675" cy="398049"/>
              </a:xfrm>
              <a:custGeom>
                <a:avLst/>
                <a:gdLst>
                  <a:gd name="connsiteX0" fmla="*/ 1976438 w 1977675"/>
                  <a:gd name="connsiteY0" fmla="*/ 0 h 398049"/>
                  <a:gd name="connsiteX1" fmla="*/ 1238 w 1977675"/>
                  <a:gd name="connsiteY1" fmla="*/ 0 h 398049"/>
                  <a:gd name="connsiteX2" fmla="*/ 0 w 1977675"/>
                  <a:gd name="connsiteY2" fmla="*/ 48578 h 398049"/>
                  <a:gd name="connsiteX3" fmla="*/ 65532 w 1977675"/>
                  <a:gd name="connsiteY3" fmla="*/ 398050 h 398049"/>
                  <a:gd name="connsiteX4" fmla="*/ 1912144 w 1977675"/>
                  <a:gd name="connsiteY4" fmla="*/ 398050 h 398049"/>
                  <a:gd name="connsiteX5" fmla="*/ 1977676 w 1977675"/>
                  <a:gd name="connsiteY5" fmla="*/ 48578 h 398049"/>
                  <a:gd name="connsiteX6" fmla="*/ 1976438 w 1977675"/>
                  <a:gd name="connsiteY6" fmla="*/ 0 h 3980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977675" h="398049">
                    <a:moveTo>
                      <a:pt x="1976438" y="0"/>
                    </a:moveTo>
                    <a:lnTo>
                      <a:pt x="1238" y="0"/>
                    </a:lnTo>
                    <a:cubicBezTo>
                      <a:pt x="476" y="16097"/>
                      <a:pt x="0" y="32290"/>
                      <a:pt x="0" y="48578"/>
                    </a:cubicBezTo>
                    <a:cubicBezTo>
                      <a:pt x="0" y="171736"/>
                      <a:pt x="23241" y="289560"/>
                      <a:pt x="65532" y="398050"/>
                    </a:cubicBezTo>
                    <a:lnTo>
                      <a:pt x="1912144" y="398050"/>
                    </a:lnTo>
                    <a:cubicBezTo>
                      <a:pt x="1954435" y="289560"/>
                      <a:pt x="1977676" y="171736"/>
                      <a:pt x="1977676" y="48578"/>
                    </a:cubicBezTo>
                    <a:cubicBezTo>
                      <a:pt x="1977676" y="32385"/>
                      <a:pt x="1977200" y="16192"/>
                      <a:pt x="1976438" y="0"/>
                    </a:cubicBezTo>
                    <a:close/>
                  </a:path>
                </a:pathLst>
              </a:custGeom>
              <a:solidFill>
                <a:srgbClr val="CD3C4C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 sz="1800"/>
              </a:p>
            </p:txBody>
          </p:sp>
          <p:sp>
            <p:nvSpPr>
              <p:cNvPr id="59" name="ïṥľíḋe">
                <a:extLst>
                  <a:ext uri="{FF2B5EF4-FFF2-40B4-BE49-F238E27FC236}">
                    <a16:creationId xmlns:a16="http://schemas.microsoft.com/office/drawing/2014/main" id="{75E5D029-1098-4514-AF0E-28BC8F23925F}"/>
                  </a:ext>
                </a:extLst>
              </p:cNvPr>
              <p:cNvSpPr/>
              <p:nvPr/>
            </p:nvSpPr>
            <p:spPr>
              <a:xfrm>
                <a:off x="3666362" y="4958715"/>
                <a:ext cx="549878" cy="919924"/>
              </a:xfrm>
              <a:custGeom>
                <a:avLst/>
                <a:gdLst>
                  <a:gd name="connsiteX0" fmla="*/ 549878 w 549878"/>
                  <a:gd name="connsiteY0" fmla="*/ 807625 h 919924"/>
                  <a:gd name="connsiteX1" fmla="*/ 361759 w 549878"/>
                  <a:gd name="connsiteY1" fmla="*/ 132683 h 919924"/>
                  <a:gd name="connsiteX2" fmla="*/ 331565 w 549878"/>
                  <a:gd name="connsiteY2" fmla="*/ 0 h 919924"/>
                  <a:gd name="connsiteX3" fmla="*/ 0 w 549878"/>
                  <a:gd name="connsiteY3" fmla="*/ 41338 h 919924"/>
                  <a:gd name="connsiteX4" fmla="*/ 118586 w 549878"/>
                  <a:gd name="connsiteY4" fmla="*/ 919924 h 9199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49878" h="919924">
                    <a:moveTo>
                      <a:pt x="549878" y="807625"/>
                    </a:moveTo>
                    <a:lnTo>
                      <a:pt x="361759" y="132683"/>
                    </a:lnTo>
                    <a:lnTo>
                      <a:pt x="331565" y="0"/>
                    </a:lnTo>
                    <a:lnTo>
                      <a:pt x="0" y="41338"/>
                    </a:lnTo>
                    <a:lnTo>
                      <a:pt x="118586" y="919924"/>
                    </a:lnTo>
                    <a:close/>
                  </a:path>
                </a:pathLst>
              </a:custGeom>
              <a:solidFill>
                <a:srgbClr val="CD3C4C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 sz="1800"/>
              </a:p>
            </p:txBody>
          </p:sp>
          <p:sp>
            <p:nvSpPr>
              <p:cNvPr id="60" name="iṥľíďé">
                <a:extLst>
                  <a:ext uri="{FF2B5EF4-FFF2-40B4-BE49-F238E27FC236}">
                    <a16:creationId xmlns:a16="http://schemas.microsoft.com/office/drawing/2014/main" id="{129B0246-BF9D-47C7-9876-23084CD39D4A}"/>
                  </a:ext>
                </a:extLst>
              </p:cNvPr>
              <p:cNvSpPr/>
              <p:nvPr/>
            </p:nvSpPr>
            <p:spPr>
              <a:xfrm>
                <a:off x="3655123" y="5362765"/>
                <a:ext cx="475868" cy="140493"/>
              </a:xfrm>
              <a:custGeom>
                <a:avLst/>
                <a:gdLst>
                  <a:gd name="connsiteX0" fmla="*/ 0 w 475868"/>
                  <a:gd name="connsiteY0" fmla="*/ 140494 h 140493"/>
                  <a:gd name="connsiteX1" fmla="*/ 475869 w 475868"/>
                  <a:gd name="connsiteY1" fmla="*/ 0 h 1404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5868" h="140493">
                    <a:moveTo>
                      <a:pt x="0" y="140494"/>
                    </a:moveTo>
                    <a:lnTo>
                      <a:pt x="475869" y="0"/>
                    </a:lnTo>
                  </a:path>
                </a:pathLst>
              </a:custGeom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 sz="1800"/>
              </a:p>
            </p:txBody>
          </p:sp>
          <p:sp>
            <p:nvSpPr>
              <p:cNvPr id="61" name="i$líḑè">
                <a:extLst>
                  <a:ext uri="{FF2B5EF4-FFF2-40B4-BE49-F238E27FC236}">
                    <a16:creationId xmlns:a16="http://schemas.microsoft.com/office/drawing/2014/main" id="{0E9F6ABD-88B6-47EF-90D1-0C21489E4553}"/>
                  </a:ext>
                </a:extLst>
              </p:cNvPr>
              <p:cNvSpPr/>
              <p:nvPr/>
            </p:nvSpPr>
            <p:spPr>
              <a:xfrm>
                <a:off x="3720750" y="5538978"/>
                <a:ext cx="546925" cy="209550"/>
              </a:xfrm>
              <a:custGeom>
                <a:avLst/>
                <a:gdLst>
                  <a:gd name="connsiteX0" fmla="*/ 0 w 546925"/>
                  <a:gd name="connsiteY0" fmla="*/ 209550 h 209550"/>
                  <a:gd name="connsiteX1" fmla="*/ 546926 w 546925"/>
                  <a:gd name="connsiteY1" fmla="*/ 0 h 2095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46925" h="209550">
                    <a:moveTo>
                      <a:pt x="0" y="209550"/>
                    </a:moveTo>
                    <a:lnTo>
                      <a:pt x="546926" y="0"/>
                    </a:lnTo>
                  </a:path>
                </a:pathLst>
              </a:custGeom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 sz="1800"/>
              </a:p>
            </p:txBody>
          </p:sp>
          <p:sp>
            <p:nvSpPr>
              <p:cNvPr id="62" name="îSľïḑè">
                <a:extLst>
                  <a:ext uri="{FF2B5EF4-FFF2-40B4-BE49-F238E27FC236}">
                    <a16:creationId xmlns:a16="http://schemas.microsoft.com/office/drawing/2014/main" id="{17B2A71E-152D-417C-B9D1-314A0E2CE2E7}"/>
                  </a:ext>
                </a:extLst>
              </p:cNvPr>
              <p:cNvSpPr/>
              <p:nvPr/>
            </p:nvSpPr>
            <p:spPr>
              <a:xfrm>
                <a:off x="3666362" y="4958715"/>
                <a:ext cx="367283" cy="225170"/>
              </a:xfrm>
              <a:custGeom>
                <a:avLst/>
                <a:gdLst>
                  <a:gd name="connsiteX0" fmla="*/ 361759 w 367283"/>
                  <a:gd name="connsiteY0" fmla="*/ 132683 h 225170"/>
                  <a:gd name="connsiteX1" fmla="*/ 331565 w 367283"/>
                  <a:gd name="connsiteY1" fmla="*/ 0 h 225170"/>
                  <a:gd name="connsiteX2" fmla="*/ 0 w 367283"/>
                  <a:gd name="connsiteY2" fmla="*/ 41338 h 225170"/>
                  <a:gd name="connsiteX3" fmla="*/ 24860 w 367283"/>
                  <a:gd name="connsiteY3" fmla="*/ 225171 h 225170"/>
                  <a:gd name="connsiteX4" fmla="*/ 367284 w 367283"/>
                  <a:gd name="connsiteY4" fmla="*/ 152781 h 2251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67283" h="225170">
                    <a:moveTo>
                      <a:pt x="361759" y="132683"/>
                    </a:moveTo>
                    <a:lnTo>
                      <a:pt x="331565" y="0"/>
                    </a:lnTo>
                    <a:lnTo>
                      <a:pt x="0" y="41338"/>
                    </a:lnTo>
                    <a:lnTo>
                      <a:pt x="24860" y="225171"/>
                    </a:lnTo>
                    <a:lnTo>
                      <a:pt x="367284" y="152781"/>
                    </a:lnTo>
                    <a:close/>
                  </a:path>
                </a:pathLst>
              </a:custGeom>
              <a:solidFill>
                <a:srgbClr val="637B36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 sz="1800"/>
              </a:p>
            </p:txBody>
          </p:sp>
          <p:sp>
            <p:nvSpPr>
              <p:cNvPr id="63" name="ïṩľíďé">
                <a:extLst>
                  <a:ext uri="{FF2B5EF4-FFF2-40B4-BE49-F238E27FC236}">
                    <a16:creationId xmlns:a16="http://schemas.microsoft.com/office/drawing/2014/main" id="{E7BDA6F6-D6C4-469D-B7C4-1AEE7F82735C}"/>
                  </a:ext>
                </a:extLst>
              </p:cNvPr>
              <p:cNvSpPr/>
              <p:nvPr/>
            </p:nvSpPr>
            <p:spPr>
              <a:xfrm>
                <a:off x="3727798" y="5362765"/>
                <a:ext cx="439673" cy="368712"/>
              </a:xfrm>
              <a:custGeom>
                <a:avLst/>
                <a:gdLst>
                  <a:gd name="connsiteX0" fmla="*/ 375952 w 439673"/>
                  <a:gd name="connsiteY0" fmla="*/ 0 h 368712"/>
                  <a:gd name="connsiteX1" fmla="*/ 0 w 439673"/>
                  <a:gd name="connsiteY1" fmla="*/ 117920 h 368712"/>
                  <a:gd name="connsiteX2" fmla="*/ 33909 w 439673"/>
                  <a:gd name="connsiteY2" fmla="*/ 368713 h 368712"/>
                  <a:gd name="connsiteX3" fmla="*/ 439674 w 439673"/>
                  <a:gd name="connsiteY3" fmla="*/ 228505 h 3687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39673" h="368712">
                    <a:moveTo>
                      <a:pt x="375952" y="0"/>
                    </a:moveTo>
                    <a:lnTo>
                      <a:pt x="0" y="117920"/>
                    </a:lnTo>
                    <a:lnTo>
                      <a:pt x="33909" y="368713"/>
                    </a:lnTo>
                    <a:lnTo>
                      <a:pt x="439674" y="228505"/>
                    </a:lnTo>
                    <a:close/>
                  </a:path>
                </a:pathLst>
              </a:custGeom>
              <a:solidFill>
                <a:srgbClr val="637B36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 sz="1800"/>
              </a:p>
            </p:txBody>
          </p:sp>
          <p:sp>
            <p:nvSpPr>
              <p:cNvPr id="64" name="îṡ1ïḑè">
                <a:extLst>
                  <a:ext uri="{FF2B5EF4-FFF2-40B4-BE49-F238E27FC236}">
                    <a16:creationId xmlns:a16="http://schemas.microsoft.com/office/drawing/2014/main" id="{20546104-491C-453F-9643-943B30B43558}"/>
                  </a:ext>
                </a:extLst>
              </p:cNvPr>
              <p:cNvSpPr/>
              <p:nvPr/>
            </p:nvSpPr>
            <p:spPr>
              <a:xfrm>
                <a:off x="3095624" y="4985575"/>
                <a:ext cx="573404" cy="894873"/>
              </a:xfrm>
              <a:custGeom>
                <a:avLst/>
                <a:gdLst>
                  <a:gd name="connsiteX0" fmla="*/ 205359 w 573404"/>
                  <a:gd name="connsiteY0" fmla="*/ 0 h 894873"/>
                  <a:gd name="connsiteX1" fmla="*/ 573405 w 573404"/>
                  <a:gd name="connsiteY1" fmla="*/ 20002 h 894873"/>
                  <a:gd name="connsiteX2" fmla="*/ 460248 w 573404"/>
                  <a:gd name="connsiteY2" fmla="*/ 894874 h 894873"/>
                  <a:gd name="connsiteX3" fmla="*/ 0 w 573404"/>
                  <a:gd name="connsiteY3" fmla="*/ 799814 h 8948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73404" h="894873">
                    <a:moveTo>
                      <a:pt x="205359" y="0"/>
                    </a:moveTo>
                    <a:lnTo>
                      <a:pt x="573405" y="20002"/>
                    </a:lnTo>
                    <a:lnTo>
                      <a:pt x="460248" y="894874"/>
                    </a:lnTo>
                    <a:lnTo>
                      <a:pt x="0" y="799814"/>
                    </a:lnTo>
                    <a:close/>
                  </a:path>
                </a:pathLst>
              </a:custGeom>
              <a:solidFill>
                <a:srgbClr val="CD3C4C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 sz="1800"/>
              </a:p>
            </p:txBody>
          </p:sp>
          <p:sp>
            <p:nvSpPr>
              <p:cNvPr id="65" name="îŝlíďè">
                <a:extLst>
                  <a:ext uri="{FF2B5EF4-FFF2-40B4-BE49-F238E27FC236}">
                    <a16:creationId xmlns:a16="http://schemas.microsoft.com/office/drawing/2014/main" id="{FF033B6D-6C47-4C31-AF2F-3C961B50637C}"/>
                  </a:ext>
                </a:extLst>
              </p:cNvPr>
              <p:cNvSpPr/>
              <p:nvPr/>
            </p:nvSpPr>
            <p:spPr>
              <a:xfrm>
                <a:off x="3616451" y="5005577"/>
                <a:ext cx="104298" cy="417957"/>
              </a:xfrm>
              <a:custGeom>
                <a:avLst/>
                <a:gdLst>
                  <a:gd name="connsiteX0" fmla="*/ 104299 w 104298"/>
                  <a:gd name="connsiteY0" fmla="*/ 417957 h 417957"/>
                  <a:gd name="connsiteX1" fmla="*/ 52578 w 104298"/>
                  <a:gd name="connsiteY1" fmla="*/ 0 h 417957"/>
                  <a:gd name="connsiteX2" fmla="*/ 0 w 104298"/>
                  <a:gd name="connsiteY2" fmla="*/ 417957 h 4179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04298" h="417957">
                    <a:moveTo>
                      <a:pt x="104299" y="417957"/>
                    </a:moveTo>
                    <a:lnTo>
                      <a:pt x="52578" y="0"/>
                    </a:lnTo>
                    <a:lnTo>
                      <a:pt x="0" y="417957"/>
                    </a:lnTo>
                    <a:close/>
                  </a:path>
                </a:pathLst>
              </a:custGeom>
              <a:solidFill>
                <a:srgbClr val="637B36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 sz="1800"/>
              </a:p>
            </p:txBody>
          </p:sp>
          <p:sp>
            <p:nvSpPr>
              <p:cNvPr id="66" name="íśľidé">
                <a:extLst>
                  <a:ext uri="{FF2B5EF4-FFF2-40B4-BE49-F238E27FC236}">
                    <a16:creationId xmlns:a16="http://schemas.microsoft.com/office/drawing/2014/main" id="{BA82D654-A390-4491-A54B-4CB6396077B1}"/>
                  </a:ext>
                </a:extLst>
              </p:cNvPr>
              <p:cNvSpPr/>
              <p:nvPr/>
            </p:nvSpPr>
            <p:spPr>
              <a:xfrm>
                <a:off x="3197446" y="5120449"/>
                <a:ext cx="457676" cy="347186"/>
              </a:xfrm>
              <a:custGeom>
                <a:avLst/>
                <a:gdLst>
                  <a:gd name="connsiteX0" fmla="*/ 457676 w 457676"/>
                  <a:gd name="connsiteY0" fmla="*/ 63437 h 347186"/>
                  <a:gd name="connsiteX1" fmla="*/ 68866 w 457676"/>
                  <a:gd name="connsiteY1" fmla="*/ 0 h 347186"/>
                  <a:gd name="connsiteX2" fmla="*/ 0 w 457676"/>
                  <a:gd name="connsiteY2" fmla="*/ 268415 h 347186"/>
                  <a:gd name="connsiteX3" fmla="*/ 411861 w 457676"/>
                  <a:gd name="connsiteY3" fmla="*/ 347186 h 3471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57676" h="347186">
                    <a:moveTo>
                      <a:pt x="457676" y="63437"/>
                    </a:moveTo>
                    <a:lnTo>
                      <a:pt x="68866" y="0"/>
                    </a:lnTo>
                    <a:lnTo>
                      <a:pt x="0" y="268415"/>
                    </a:lnTo>
                    <a:lnTo>
                      <a:pt x="411861" y="347186"/>
                    </a:lnTo>
                    <a:close/>
                  </a:path>
                </a:pathLst>
              </a:custGeom>
              <a:solidFill>
                <a:srgbClr val="637B36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 sz="1800"/>
              </a:p>
            </p:txBody>
          </p:sp>
          <p:sp>
            <p:nvSpPr>
              <p:cNvPr id="67" name="íṩ1iḓé">
                <a:extLst>
                  <a:ext uri="{FF2B5EF4-FFF2-40B4-BE49-F238E27FC236}">
                    <a16:creationId xmlns:a16="http://schemas.microsoft.com/office/drawing/2014/main" id="{48A6D988-FB6E-45EF-B15D-7B566064A869}"/>
                  </a:ext>
                </a:extLst>
              </p:cNvPr>
              <p:cNvSpPr/>
              <p:nvPr/>
            </p:nvSpPr>
            <p:spPr>
              <a:xfrm>
                <a:off x="3095624" y="5598604"/>
                <a:ext cx="488822" cy="281844"/>
              </a:xfrm>
              <a:custGeom>
                <a:avLst/>
                <a:gdLst>
                  <a:gd name="connsiteX0" fmla="*/ 488823 w 488822"/>
                  <a:gd name="connsiteY0" fmla="*/ 61436 h 281844"/>
                  <a:gd name="connsiteX1" fmla="*/ 48006 w 488822"/>
                  <a:gd name="connsiteY1" fmla="*/ 0 h 281844"/>
                  <a:gd name="connsiteX2" fmla="*/ 0 w 488822"/>
                  <a:gd name="connsiteY2" fmla="*/ 186785 h 281844"/>
                  <a:gd name="connsiteX3" fmla="*/ 460248 w 488822"/>
                  <a:gd name="connsiteY3" fmla="*/ 281845 h 281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88822" h="281844">
                    <a:moveTo>
                      <a:pt x="488823" y="61436"/>
                    </a:moveTo>
                    <a:lnTo>
                      <a:pt x="48006" y="0"/>
                    </a:lnTo>
                    <a:lnTo>
                      <a:pt x="0" y="186785"/>
                    </a:lnTo>
                    <a:lnTo>
                      <a:pt x="460248" y="281845"/>
                    </a:lnTo>
                    <a:close/>
                  </a:path>
                </a:pathLst>
              </a:custGeom>
              <a:solidFill>
                <a:srgbClr val="637B36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 sz="1800"/>
              </a:p>
            </p:txBody>
          </p:sp>
          <p:sp>
            <p:nvSpPr>
              <p:cNvPr id="68" name="işḻiḑê">
                <a:extLst>
                  <a:ext uri="{FF2B5EF4-FFF2-40B4-BE49-F238E27FC236}">
                    <a16:creationId xmlns:a16="http://schemas.microsoft.com/office/drawing/2014/main" id="{0FD00421-C0DA-4ABF-9588-7112BD7CA5BB}"/>
                  </a:ext>
                </a:extLst>
              </p:cNvPr>
              <p:cNvSpPr/>
              <p:nvPr/>
            </p:nvSpPr>
            <p:spPr>
              <a:xfrm>
                <a:off x="2756225" y="5025390"/>
                <a:ext cx="307109" cy="398049"/>
              </a:xfrm>
              <a:custGeom>
                <a:avLst/>
                <a:gdLst>
                  <a:gd name="connsiteX0" fmla="*/ 268438 w 307109"/>
                  <a:gd name="connsiteY0" fmla="*/ 0 h 398049"/>
                  <a:gd name="connsiteX1" fmla="*/ 307110 w 307109"/>
                  <a:gd name="connsiteY1" fmla="*/ 398050 h 398049"/>
                  <a:gd name="connsiteX2" fmla="*/ 69080 w 307109"/>
                  <a:gd name="connsiteY2" fmla="*/ 398050 h 398049"/>
                  <a:gd name="connsiteX3" fmla="*/ 4786 w 307109"/>
                  <a:gd name="connsiteY3" fmla="*/ 0 h 398049"/>
                  <a:gd name="connsiteX4" fmla="*/ 268438 w 307109"/>
                  <a:gd name="connsiteY4" fmla="*/ 0 h 3980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07109" h="398049">
                    <a:moveTo>
                      <a:pt x="268438" y="0"/>
                    </a:moveTo>
                    <a:lnTo>
                      <a:pt x="307110" y="398050"/>
                    </a:lnTo>
                    <a:lnTo>
                      <a:pt x="69080" y="398050"/>
                    </a:lnTo>
                    <a:cubicBezTo>
                      <a:pt x="69080" y="398050"/>
                      <a:pt x="-21503" y="220504"/>
                      <a:pt x="4786" y="0"/>
                    </a:cubicBezTo>
                    <a:lnTo>
                      <a:pt x="268438" y="0"/>
                    </a:lnTo>
                    <a:close/>
                  </a:path>
                </a:pathLst>
              </a:custGeom>
              <a:solidFill>
                <a:srgbClr val="637B36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 sz="1800"/>
              </a:p>
            </p:txBody>
          </p:sp>
          <p:sp>
            <p:nvSpPr>
              <p:cNvPr id="69" name="îṧļïḓè">
                <a:extLst>
                  <a:ext uri="{FF2B5EF4-FFF2-40B4-BE49-F238E27FC236}">
                    <a16:creationId xmlns:a16="http://schemas.microsoft.com/office/drawing/2014/main" id="{69FDAE16-2E71-44C0-A90C-E744D619281E}"/>
                  </a:ext>
                </a:extLst>
              </p:cNvPr>
              <p:cNvSpPr/>
              <p:nvPr/>
            </p:nvSpPr>
            <p:spPr>
              <a:xfrm>
                <a:off x="4162805" y="5025390"/>
                <a:ext cx="301847" cy="398144"/>
              </a:xfrm>
              <a:custGeom>
                <a:avLst/>
                <a:gdLst>
                  <a:gd name="connsiteX0" fmla="*/ 0 w 301847"/>
                  <a:gd name="connsiteY0" fmla="*/ 0 h 398144"/>
                  <a:gd name="connsiteX1" fmla="*/ 0 w 301847"/>
                  <a:gd name="connsiteY1" fmla="*/ 398145 h 398144"/>
                  <a:gd name="connsiteX2" fmla="*/ 301847 w 301847"/>
                  <a:gd name="connsiteY2" fmla="*/ 398145 h 398144"/>
                  <a:gd name="connsiteX3" fmla="*/ 285179 w 301847"/>
                  <a:gd name="connsiteY3" fmla="*/ 0 h 3981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01847" h="398144">
                    <a:moveTo>
                      <a:pt x="0" y="0"/>
                    </a:moveTo>
                    <a:lnTo>
                      <a:pt x="0" y="398145"/>
                    </a:lnTo>
                    <a:lnTo>
                      <a:pt x="301847" y="398145"/>
                    </a:lnTo>
                    <a:lnTo>
                      <a:pt x="285179" y="0"/>
                    </a:lnTo>
                    <a:close/>
                  </a:path>
                </a:pathLst>
              </a:custGeom>
              <a:solidFill>
                <a:srgbClr val="637B36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 sz="1800"/>
              </a:p>
            </p:txBody>
          </p:sp>
          <p:sp>
            <p:nvSpPr>
              <p:cNvPr id="70" name="íṡḷiďê">
                <a:extLst>
                  <a:ext uri="{FF2B5EF4-FFF2-40B4-BE49-F238E27FC236}">
                    <a16:creationId xmlns:a16="http://schemas.microsoft.com/office/drawing/2014/main" id="{9AEA388E-0FBB-4003-B5C9-781A0612F9CD}"/>
                  </a:ext>
                </a:extLst>
              </p:cNvPr>
              <p:cNvSpPr/>
              <p:nvPr/>
            </p:nvSpPr>
            <p:spPr>
              <a:xfrm>
                <a:off x="2780346" y="4243863"/>
                <a:ext cx="1607153" cy="1825942"/>
              </a:xfrm>
              <a:custGeom>
                <a:avLst/>
                <a:gdLst>
                  <a:gd name="connsiteX0" fmla="*/ 157163 w 1607153"/>
                  <a:gd name="connsiteY0" fmla="*/ 741712 h 1825942"/>
                  <a:gd name="connsiteX1" fmla="*/ 499586 w 1607153"/>
                  <a:gd name="connsiteY1" fmla="*/ 0 h 1825942"/>
                  <a:gd name="connsiteX2" fmla="*/ 0 w 1607153"/>
                  <a:gd name="connsiteY2" fmla="*/ 851154 h 1825942"/>
                  <a:gd name="connsiteX3" fmla="*/ 974789 w 1607153"/>
                  <a:gd name="connsiteY3" fmla="*/ 1825943 h 1825942"/>
                  <a:gd name="connsiteX4" fmla="*/ 1607153 w 1607153"/>
                  <a:gd name="connsiteY4" fmla="*/ 1592961 h 1825942"/>
                  <a:gd name="connsiteX5" fmla="*/ 1131951 w 1607153"/>
                  <a:gd name="connsiteY5" fmla="*/ 1716501 h 1825942"/>
                  <a:gd name="connsiteX6" fmla="*/ 157163 w 1607153"/>
                  <a:gd name="connsiteY6" fmla="*/ 741712 h 18259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07153" h="1825942">
                    <a:moveTo>
                      <a:pt x="157163" y="741712"/>
                    </a:moveTo>
                    <a:cubicBezTo>
                      <a:pt x="157163" y="444722"/>
                      <a:pt x="290036" y="178784"/>
                      <a:pt x="499586" y="0"/>
                    </a:cubicBezTo>
                    <a:cubicBezTo>
                      <a:pt x="201549" y="166688"/>
                      <a:pt x="0" y="485299"/>
                      <a:pt x="0" y="851154"/>
                    </a:cubicBezTo>
                    <a:cubicBezTo>
                      <a:pt x="0" y="1389507"/>
                      <a:pt x="436436" y="1825943"/>
                      <a:pt x="974789" y="1825943"/>
                    </a:cubicBezTo>
                    <a:cubicBezTo>
                      <a:pt x="1216152" y="1825943"/>
                      <a:pt x="1436942" y="1738217"/>
                      <a:pt x="1607153" y="1592961"/>
                    </a:cubicBezTo>
                    <a:cubicBezTo>
                      <a:pt x="1466564" y="1671638"/>
                      <a:pt x="1304449" y="1716501"/>
                      <a:pt x="1131951" y="1716501"/>
                    </a:cubicBezTo>
                    <a:cubicBezTo>
                      <a:pt x="593598" y="1716405"/>
                      <a:pt x="157163" y="1280065"/>
                      <a:pt x="157163" y="741712"/>
                    </a:cubicBezTo>
                    <a:close/>
                  </a:path>
                </a:pathLst>
              </a:custGeom>
              <a:solidFill>
                <a:srgbClr val="773020">
                  <a:alpha val="20000"/>
                </a:srgbClr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 sz="1800"/>
              </a:p>
            </p:txBody>
          </p:sp>
        </p:grpSp>
        <p:sp>
          <p:nvSpPr>
            <p:cNvPr id="42" name="íś1iḍè">
              <a:extLst>
                <a:ext uri="{FF2B5EF4-FFF2-40B4-BE49-F238E27FC236}">
                  <a16:creationId xmlns:a16="http://schemas.microsoft.com/office/drawing/2014/main" id="{BC99F505-BDFE-47D3-A6B1-B1016C5A081A}"/>
                </a:ext>
              </a:extLst>
            </p:cNvPr>
            <p:cNvSpPr/>
            <p:nvPr/>
          </p:nvSpPr>
          <p:spPr>
            <a:xfrm>
              <a:off x="4654962" y="5025390"/>
              <a:ext cx="86105" cy="398144"/>
            </a:xfrm>
            <a:custGeom>
              <a:avLst/>
              <a:gdLst>
                <a:gd name="connsiteX0" fmla="*/ 22384 w 86105"/>
                <a:gd name="connsiteY0" fmla="*/ 398145 h 398144"/>
                <a:gd name="connsiteX1" fmla="*/ 86106 w 86105"/>
                <a:gd name="connsiteY1" fmla="*/ 49244 h 398144"/>
                <a:gd name="connsiteX2" fmla="*/ 84868 w 86105"/>
                <a:gd name="connsiteY2" fmla="*/ 0 h 398144"/>
                <a:gd name="connsiteX3" fmla="*/ 0 w 86105"/>
                <a:gd name="connsiteY3" fmla="*/ 0 h 398144"/>
                <a:gd name="connsiteX4" fmla="*/ 0 w 86105"/>
                <a:gd name="connsiteY4" fmla="*/ 398050 h 398144"/>
                <a:gd name="connsiteX5" fmla="*/ 22384 w 86105"/>
                <a:gd name="connsiteY5" fmla="*/ 398050 h 3981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86105" h="398144">
                  <a:moveTo>
                    <a:pt x="22384" y="398145"/>
                  </a:moveTo>
                  <a:cubicBezTo>
                    <a:pt x="63532" y="289655"/>
                    <a:pt x="86106" y="172117"/>
                    <a:pt x="86106" y="49244"/>
                  </a:cubicBezTo>
                  <a:cubicBezTo>
                    <a:pt x="86106" y="32766"/>
                    <a:pt x="85725" y="16383"/>
                    <a:pt x="84868" y="0"/>
                  </a:cubicBezTo>
                  <a:lnTo>
                    <a:pt x="0" y="0"/>
                  </a:lnTo>
                  <a:lnTo>
                    <a:pt x="0" y="398050"/>
                  </a:lnTo>
                  <a:lnTo>
                    <a:pt x="22384" y="398050"/>
                  </a:lnTo>
                  <a:close/>
                </a:path>
              </a:pathLst>
            </a:custGeom>
            <a:solidFill>
              <a:srgbClr val="637B36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 sz="1800"/>
            </a:p>
          </p:txBody>
        </p:sp>
      </p:grpSp>
      <p:grpSp>
        <p:nvGrpSpPr>
          <p:cNvPr id="73" name="图形 5">
            <a:extLst>
              <a:ext uri="{FF2B5EF4-FFF2-40B4-BE49-F238E27FC236}">
                <a16:creationId xmlns:a16="http://schemas.microsoft.com/office/drawing/2014/main" id="{E842CE28-46DD-4BB3-911C-F9B8BEB4A8BC}"/>
              </a:ext>
            </a:extLst>
          </p:cNvPr>
          <p:cNvGrpSpPr/>
          <p:nvPr userDrawn="1"/>
        </p:nvGrpSpPr>
        <p:grpSpPr>
          <a:xfrm rot="1782324">
            <a:off x="7993511" y="4156600"/>
            <a:ext cx="4044048" cy="4044048"/>
            <a:chOff x="7651241" y="1184529"/>
            <a:chExt cx="1949576" cy="1949576"/>
          </a:xfrm>
          <a:solidFill>
            <a:schemeClr val="accent1"/>
          </a:solidFill>
        </p:grpSpPr>
        <p:grpSp>
          <p:nvGrpSpPr>
            <p:cNvPr id="74" name="图形 5">
              <a:extLst>
                <a:ext uri="{FF2B5EF4-FFF2-40B4-BE49-F238E27FC236}">
                  <a16:creationId xmlns:a16="http://schemas.microsoft.com/office/drawing/2014/main" id="{A4841866-888D-454E-9490-5286FBD5291A}"/>
                </a:ext>
              </a:extLst>
            </p:cNvPr>
            <p:cNvGrpSpPr/>
            <p:nvPr/>
          </p:nvGrpSpPr>
          <p:grpSpPr>
            <a:xfrm>
              <a:off x="7651241" y="1184529"/>
              <a:ext cx="1949576" cy="1949576"/>
              <a:chOff x="7651241" y="1184529"/>
              <a:chExt cx="1949576" cy="1949576"/>
            </a:xfrm>
            <a:solidFill>
              <a:schemeClr val="accent1"/>
            </a:solidFill>
          </p:grpSpPr>
          <p:sp>
            <p:nvSpPr>
              <p:cNvPr id="76" name="ïšľïdè">
                <a:extLst>
                  <a:ext uri="{FF2B5EF4-FFF2-40B4-BE49-F238E27FC236}">
                    <a16:creationId xmlns:a16="http://schemas.microsoft.com/office/drawing/2014/main" id="{BB730AF1-A639-442C-B3EF-119A69783C40}"/>
                  </a:ext>
                </a:extLst>
              </p:cNvPr>
              <p:cNvSpPr/>
              <p:nvPr/>
            </p:nvSpPr>
            <p:spPr>
              <a:xfrm>
                <a:off x="7651241" y="1184529"/>
                <a:ext cx="1949576" cy="1949576"/>
              </a:xfrm>
              <a:custGeom>
                <a:avLst/>
                <a:gdLst>
                  <a:gd name="connsiteX0" fmla="*/ 1949577 w 1949576"/>
                  <a:gd name="connsiteY0" fmla="*/ 974788 h 1949576"/>
                  <a:gd name="connsiteX1" fmla="*/ 974788 w 1949576"/>
                  <a:gd name="connsiteY1" fmla="*/ 1949577 h 1949576"/>
                  <a:gd name="connsiteX2" fmla="*/ 0 w 1949576"/>
                  <a:gd name="connsiteY2" fmla="*/ 974788 h 1949576"/>
                  <a:gd name="connsiteX3" fmla="*/ 974788 w 1949576"/>
                  <a:gd name="connsiteY3" fmla="*/ 0 h 1949576"/>
                  <a:gd name="connsiteX4" fmla="*/ 1949577 w 1949576"/>
                  <a:gd name="connsiteY4" fmla="*/ 974788 h 19495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949576" h="1949576">
                    <a:moveTo>
                      <a:pt x="1949577" y="974788"/>
                    </a:moveTo>
                    <a:cubicBezTo>
                      <a:pt x="1949577" y="1513142"/>
                      <a:pt x="1513141" y="1949577"/>
                      <a:pt x="974788" y="1949577"/>
                    </a:cubicBezTo>
                    <a:cubicBezTo>
                      <a:pt x="436435" y="1949577"/>
                      <a:pt x="0" y="1513142"/>
                      <a:pt x="0" y="974788"/>
                    </a:cubicBezTo>
                    <a:cubicBezTo>
                      <a:pt x="0" y="436436"/>
                      <a:pt x="436435" y="0"/>
                      <a:pt x="974788" y="0"/>
                    </a:cubicBezTo>
                    <a:cubicBezTo>
                      <a:pt x="1513141" y="0"/>
                      <a:pt x="1949577" y="436436"/>
                      <a:pt x="1949577" y="974788"/>
                    </a:cubicBezTo>
                    <a:close/>
                  </a:path>
                </a:pathLst>
              </a:custGeom>
              <a:solidFill>
                <a:srgbClr val="F2EED7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 sz="1800"/>
              </a:p>
            </p:txBody>
          </p:sp>
          <p:sp>
            <p:nvSpPr>
              <p:cNvPr id="77" name="îṥļíḑé">
                <a:extLst>
                  <a:ext uri="{FF2B5EF4-FFF2-40B4-BE49-F238E27FC236}">
                    <a16:creationId xmlns:a16="http://schemas.microsoft.com/office/drawing/2014/main" id="{DD3EF834-AFFF-4FB3-BFBF-427332CB990E}"/>
                  </a:ext>
                </a:extLst>
              </p:cNvPr>
              <p:cNvSpPr/>
              <p:nvPr/>
            </p:nvSpPr>
            <p:spPr>
              <a:xfrm>
                <a:off x="8438387" y="1319498"/>
                <a:ext cx="349472" cy="632650"/>
              </a:xfrm>
              <a:custGeom>
                <a:avLst/>
                <a:gdLst>
                  <a:gd name="connsiteX0" fmla="*/ 349472 w 349472"/>
                  <a:gd name="connsiteY0" fmla="*/ 509207 h 632650"/>
                  <a:gd name="connsiteX1" fmla="*/ 0 w 349472"/>
                  <a:gd name="connsiteY1" fmla="*/ 0 h 632650"/>
                  <a:gd name="connsiteX2" fmla="*/ 2857 w 349472"/>
                  <a:gd name="connsiteY2" fmla="*/ 632651 h 6326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49472" h="632650">
                    <a:moveTo>
                      <a:pt x="349472" y="509207"/>
                    </a:moveTo>
                    <a:lnTo>
                      <a:pt x="0" y="0"/>
                    </a:lnTo>
                    <a:lnTo>
                      <a:pt x="2857" y="632651"/>
                    </a:lnTo>
                    <a:close/>
                  </a:path>
                </a:pathLst>
              </a:custGeom>
              <a:solidFill>
                <a:srgbClr val="EBB63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 sz="1800"/>
              </a:p>
            </p:txBody>
          </p:sp>
          <p:sp>
            <p:nvSpPr>
              <p:cNvPr id="78" name="íś1íḑe">
                <a:extLst>
                  <a:ext uri="{FF2B5EF4-FFF2-40B4-BE49-F238E27FC236}">
                    <a16:creationId xmlns:a16="http://schemas.microsoft.com/office/drawing/2014/main" id="{3E80C825-4527-485A-9BD6-0A2B75A99536}"/>
                  </a:ext>
                </a:extLst>
              </p:cNvPr>
              <p:cNvSpPr/>
              <p:nvPr/>
            </p:nvSpPr>
            <p:spPr>
              <a:xfrm>
                <a:off x="8280367" y="1754219"/>
                <a:ext cx="646557" cy="351853"/>
              </a:xfrm>
              <a:custGeom>
                <a:avLst/>
                <a:gdLst>
                  <a:gd name="connsiteX0" fmla="*/ 323279 w 646557"/>
                  <a:gd name="connsiteY0" fmla="*/ 351854 h 351853"/>
                  <a:gd name="connsiteX1" fmla="*/ 0 w 646557"/>
                  <a:gd name="connsiteY1" fmla="*/ 28575 h 351853"/>
                  <a:gd name="connsiteX2" fmla="*/ 28575 w 646557"/>
                  <a:gd name="connsiteY2" fmla="*/ 0 h 351853"/>
                  <a:gd name="connsiteX3" fmla="*/ 57150 w 646557"/>
                  <a:gd name="connsiteY3" fmla="*/ 28575 h 351853"/>
                  <a:gd name="connsiteX4" fmla="*/ 323279 w 646557"/>
                  <a:gd name="connsiteY4" fmla="*/ 294704 h 351853"/>
                  <a:gd name="connsiteX5" fmla="*/ 589407 w 646557"/>
                  <a:gd name="connsiteY5" fmla="*/ 28575 h 351853"/>
                  <a:gd name="connsiteX6" fmla="*/ 617982 w 646557"/>
                  <a:gd name="connsiteY6" fmla="*/ 0 h 351853"/>
                  <a:gd name="connsiteX7" fmla="*/ 646557 w 646557"/>
                  <a:gd name="connsiteY7" fmla="*/ 28575 h 351853"/>
                  <a:gd name="connsiteX8" fmla="*/ 323279 w 646557"/>
                  <a:gd name="connsiteY8" fmla="*/ 351854 h 3518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646557" h="351853">
                    <a:moveTo>
                      <a:pt x="323279" y="351854"/>
                    </a:moveTo>
                    <a:cubicBezTo>
                      <a:pt x="145066" y="351854"/>
                      <a:pt x="0" y="206883"/>
                      <a:pt x="0" y="28575"/>
                    </a:cubicBezTo>
                    <a:cubicBezTo>
                      <a:pt x="0" y="12764"/>
                      <a:pt x="12763" y="0"/>
                      <a:pt x="28575" y="0"/>
                    </a:cubicBezTo>
                    <a:cubicBezTo>
                      <a:pt x="44386" y="0"/>
                      <a:pt x="57150" y="12764"/>
                      <a:pt x="57150" y="28575"/>
                    </a:cubicBezTo>
                    <a:cubicBezTo>
                      <a:pt x="57150" y="175260"/>
                      <a:pt x="176498" y="294704"/>
                      <a:pt x="323279" y="294704"/>
                    </a:cubicBezTo>
                    <a:cubicBezTo>
                      <a:pt x="469963" y="294704"/>
                      <a:pt x="589407" y="175355"/>
                      <a:pt x="589407" y="28575"/>
                    </a:cubicBezTo>
                    <a:cubicBezTo>
                      <a:pt x="589407" y="12764"/>
                      <a:pt x="602170" y="0"/>
                      <a:pt x="617982" y="0"/>
                    </a:cubicBezTo>
                    <a:cubicBezTo>
                      <a:pt x="633793" y="0"/>
                      <a:pt x="646557" y="12764"/>
                      <a:pt x="646557" y="28575"/>
                    </a:cubicBezTo>
                    <a:cubicBezTo>
                      <a:pt x="646462" y="206883"/>
                      <a:pt x="501491" y="351854"/>
                      <a:pt x="323279" y="351854"/>
                    </a:cubicBezTo>
                    <a:close/>
                  </a:path>
                </a:pathLst>
              </a:custGeom>
              <a:solidFill>
                <a:srgbClr val="883827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 sz="1800"/>
              </a:p>
            </p:txBody>
          </p:sp>
          <p:sp>
            <p:nvSpPr>
              <p:cNvPr id="79" name="îṣľiḑé">
                <a:extLst>
                  <a:ext uri="{FF2B5EF4-FFF2-40B4-BE49-F238E27FC236}">
                    <a16:creationId xmlns:a16="http://schemas.microsoft.com/office/drawing/2014/main" id="{2FFF7F6E-7CE1-4DB2-A199-E7F66B1A0DB0}"/>
                  </a:ext>
                </a:extLst>
              </p:cNvPr>
              <p:cNvSpPr/>
              <p:nvPr/>
            </p:nvSpPr>
            <p:spPr>
              <a:xfrm>
                <a:off x="8912351" y="1508283"/>
                <a:ext cx="196786" cy="196786"/>
              </a:xfrm>
              <a:custGeom>
                <a:avLst/>
                <a:gdLst>
                  <a:gd name="connsiteX0" fmla="*/ 196787 w 196786"/>
                  <a:gd name="connsiteY0" fmla="*/ 98393 h 196786"/>
                  <a:gd name="connsiteX1" fmla="*/ 98393 w 196786"/>
                  <a:gd name="connsiteY1" fmla="*/ 196787 h 196786"/>
                  <a:gd name="connsiteX2" fmla="*/ 0 w 196786"/>
                  <a:gd name="connsiteY2" fmla="*/ 98393 h 196786"/>
                  <a:gd name="connsiteX3" fmla="*/ 98393 w 196786"/>
                  <a:gd name="connsiteY3" fmla="*/ 0 h 196786"/>
                  <a:gd name="connsiteX4" fmla="*/ 196787 w 196786"/>
                  <a:gd name="connsiteY4" fmla="*/ 98393 h 1967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96786" h="196786">
                    <a:moveTo>
                      <a:pt x="196787" y="98393"/>
                    </a:moveTo>
                    <a:cubicBezTo>
                      <a:pt x="196787" y="152781"/>
                      <a:pt x="152686" y="196787"/>
                      <a:pt x="98393" y="196787"/>
                    </a:cubicBezTo>
                    <a:cubicBezTo>
                      <a:pt x="44005" y="196787"/>
                      <a:pt x="0" y="152686"/>
                      <a:pt x="0" y="98393"/>
                    </a:cubicBezTo>
                    <a:cubicBezTo>
                      <a:pt x="0" y="44006"/>
                      <a:pt x="44101" y="0"/>
                      <a:pt x="98393" y="0"/>
                    </a:cubicBezTo>
                    <a:cubicBezTo>
                      <a:pt x="152686" y="0"/>
                      <a:pt x="196787" y="44101"/>
                      <a:pt x="196787" y="98393"/>
                    </a:cubicBezTo>
                    <a:close/>
                  </a:path>
                </a:pathLst>
              </a:custGeom>
              <a:solidFill>
                <a:srgbClr val="7A2A2A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 sz="1800"/>
              </a:p>
            </p:txBody>
          </p:sp>
          <p:sp>
            <p:nvSpPr>
              <p:cNvPr id="80" name="ï$ļiďé">
                <a:extLst>
                  <a:ext uri="{FF2B5EF4-FFF2-40B4-BE49-F238E27FC236}">
                    <a16:creationId xmlns:a16="http://schemas.microsoft.com/office/drawing/2014/main" id="{C5DB4412-91BC-4AC9-85C2-4F1A0FD95AEF}"/>
                  </a:ext>
                </a:extLst>
              </p:cNvPr>
              <p:cNvSpPr/>
              <p:nvPr/>
            </p:nvSpPr>
            <p:spPr>
              <a:xfrm>
                <a:off x="8086819" y="1498758"/>
                <a:ext cx="196786" cy="196786"/>
              </a:xfrm>
              <a:custGeom>
                <a:avLst/>
                <a:gdLst>
                  <a:gd name="connsiteX0" fmla="*/ 196786 w 196786"/>
                  <a:gd name="connsiteY0" fmla="*/ 98393 h 196786"/>
                  <a:gd name="connsiteX1" fmla="*/ 98393 w 196786"/>
                  <a:gd name="connsiteY1" fmla="*/ 196787 h 196786"/>
                  <a:gd name="connsiteX2" fmla="*/ 0 w 196786"/>
                  <a:gd name="connsiteY2" fmla="*/ 98393 h 196786"/>
                  <a:gd name="connsiteX3" fmla="*/ 98393 w 196786"/>
                  <a:gd name="connsiteY3" fmla="*/ 0 h 196786"/>
                  <a:gd name="connsiteX4" fmla="*/ 196786 w 196786"/>
                  <a:gd name="connsiteY4" fmla="*/ 98393 h 1967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96786" h="196786">
                    <a:moveTo>
                      <a:pt x="196786" y="98393"/>
                    </a:moveTo>
                    <a:cubicBezTo>
                      <a:pt x="196786" y="152781"/>
                      <a:pt x="152685" y="196787"/>
                      <a:pt x="98393" y="196787"/>
                    </a:cubicBezTo>
                    <a:cubicBezTo>
                      <a:pt x="44005" y="196787"/>
                      <a:pt x="0" y="152686"/>
                      <a:pt x="0" y="98393"/>
                    </a:cubicBezTo>
                    <a:cubicBezTo>
                      <a:pt x="0" y="44006"/>
                      <a:pt x="44101" y="0"/>
                      <a:pt x="98393" y="0"/>
                    </a:cubicBezTo>
                    <a:cubicBezTo>
                      <a:pt x="152781" y="0"/>
                      <a:pt x="196786" y="44101"/>
                      <a:pt x="196786" y="98393"/>
                    </a:cubicBezTo>
                    <a:close/>
                  </a:path>
                </a:pathLst>
              </a:custGeom>
              <a:solidFill>
                <a:srgbClr val="7A2A2A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 sz="1800"/>
              </a:p>
            </p:txBody>
          </p:sp>
          <p:sp>
            <p:nvSpPr>
              <p:cNvPr id="81" name="îsļîḍê">
                <a:extLst>
                  <a:ext uri="{FF2B5EF4-FFF2-40B4-BE49-F238E27FC236}">
                    <a16:creationId xmlns:a16="http://schemas.microsoft.com/office/drawing/2014/main" id="{C650B302-8DDD-44C0-98AC-BD3EC32F8833}"/>
                  </a:ext>
                </a:extLst>
              </p:cNvPr>
              <p:cNvSpPr/>
              <p:nvPr/>
            </p:nvSpPr>
            <p:spPr>
              <a:xfrm>
                <a:off x="7651241" y="2136838"/>
                <a:ext cx="1357312" cy="995362"/>
              </a:xfrm>
              <a:custGeom>
                <a:avLst/>
                <a:gdLst>
                  <a:gd name="connsiteX0" fmla="*/ 0 w 1357312"/>
                  <a:gd name="connsiteY0" fmla="*/ 20574 h 995362"/>
                  <a:gd name="connsiteX1" fmla="*/ 974788 w 1357312"/>
                  <a:gd name="connsiteY1" fmla="*/ 995363 h 995362"/>
                  <a:gd name="connsiteX2" fmla="*/ 1357313 w 1357312"/>
                  <a:gd name="connsiteY2" fmla="*/ 917448 h 995362"/>
                  <a:gd name="connsiteX3" fmla="*/ 285 w 1357312"/>
                  <a:gd name="connsiteY3" fmla="*/ 0 h 995362"/>
                  <a:gd name="connsiteX4" fmla="*/ 0 w 1357312"/>
                  <a:gd name="connsiteY4" fmla="*/ 20574 h 9953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357312" h="995362">
                    <a:moveTo>
                      <a:pt x="0" y="20574"/>
                    </a:moveTo>
                    <a:cubicBezTo>
                      <a:pt x="0" y="558927"/>
                      <a:pt x="436435" y="995363"/>
                      <a:pt x="974788" y="995363"/>
                    </a:cubicBezTo>
                    <a:cubicBezTo>
                      <a:pt x="1110519" y="995363"/>
                      <a:pt x="1239869" y="967550"/>
                      <a:pt x="1357313" y="917448"/>
                    </a:cubicBezTo>
                    <a:lnTo>
                      <a:pt x="285" y="0"/>
                    </a:lnTo>
                    <a:cubicBezTo>
                      <a:pt x="95" y="6858"/>
                      <a:pt x="0" y="13621"/>
                      <a:pt x="0" y="20574"/>
                    </a:cubicBezTo>
                    <a:close/>
                  </a:path>
                </a:pathLst>
              </a:custGeom>
              <a:solidFill>
                <a:srgbClr val="637B36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 sz="1800"/>
              </a:p>
            </p:txBody>
          </p:sp>
          <p:sp>
            <p:nvSpPr>
              <p:cNvPr id="82" name="íšḷíḋe">
                <a:extLst>
                  <a:ext uri="{FF2B5EF4-FFF2-40B4-BE49-F238E27FC236}">
                    <a16:creationId xmlns:a16="http://schemas.microsoft.com/office/drawing/2014/main" id="{8BEC2B45-5FD2-4C28-ABAC-8396D4633A53}"/>
                  </a:ext>
                </a:extLst>
              </p:cNvPr>
              <p:cNvSpPr/>
              <p:nvPr/>
            </p:nvSpPr>
            <p:spPr>
              <a:xfrm>
                <a:off x="7933848" y="2298763"/>
                <a:ext cx="1656587" cy="832675"/>
              </a:xfrm>
              <a:custGeom>
                <a:avLst/>
                <a:gdLst>
                  <a:gd name="connsiteX0" fmla="*/ 692182 w 1656587"/>
                  <a:gd name="connsiteY0" fmla="*/ 832676 h 832675"/>
                  <a:gd name="connsiteX1" fmla="*/ 1656588 w 1656587"/>
                  <a:gd name="connsiteY1" fmla="*/ 0 h 832675"/>
                  <a:gd name="connsiteX2" fmla="*/ 1656588 w 1656587"/>
                  <a:gd name="connsiteY2" fmla="*/ 0 h 832675"/>
                  <a:gd name="connsiteX3" fmla="*/ 0 w 1656587"/>
                  <a:gd name="connsiteY3" fmla="*/ 544259 h 832675"/>
                  <a:gd name="connsiteX4" fmla="*/ 692182 w 1656587"/>
                  <a:gd name="connsiteY4" fmla="*/ 832676 h 8326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56587" h="832675">
                    <a:moveTo>
                      <a:pt x="692182" y="832676"/>
                    </a:moveTo>
                    <a:cubicBezTo>
                      <a:pt x="1182243" y="832676"/>
                      <a:pt x="1587818" y="471011"/>
                      <a:pt x="1656588" y="0"/>
                    </a:cubicBezTo>
                    <a:cubicBezTo>
                      <a:pt x="1656588" y="0"/>
                      <a:pt x="1656588" y="0"/>
                      <a:pt x="1656588" y="0"/>
                    </a:cubicBezTo>
                    <a:lnTo>
                      <a:pt x="0" y="544259"/>
                    </a:lnTo>
                    <a:cubicBezTo>
                      <a:pt x="176689" y="722376"/>
                      <a:pt x="421481" y="832676"/>
                      <a:pt x="692182" y="832676"/>
                    </a:cubicBezTo>
                    <a:close/>
                  </a:path>
                </a:pathLst>
              </a:custGeom>
              <a:solidFill>
                <a:srgbClr val="88A54A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 sz="1800"/>
              </a:p>
            </p:txBody>
          </p:sp>
          <p:sp>
            <p:nvSpPr>
              <p:cNvPr id="83" name="ïsḷiḑé">
                <a:extLst>
                  <a:ext uri="{FF2B5EF4-FFF2-40B4-BE49-F238E27FC236}">
                    <a16:creationId xmlns:a16="http://schemas.microsoft.com/office/drawing/2014/main" id="{AA0F3D5F-AD59-43D5-9649-290BD1ECD786}"/>
                  </a:ext>
                </a:extLst>
              </p:cNvPr>
              <p:cNvSpPr/>
              <p:nvPr/>
            </p:nvSpPr>
            <p:spPr>
              <a:xfrm>
                <a:off x="8999981" y="1702308"/>
                <a:ext cx="218312" cy="218312"/>
              </a:xfrm>
              <a:custGeom>
                <a:avLst/>
                <a:gdLst>
                  <a:gd name="connsiteX0" fmla="*/ 218313 w 218312"/>
                  <a:gd name="connsiteY0" fmla="*/ 109156 h 218312"/>
                  <a:gd name="connsiteX1" fmla="*/ 109157 w 218312"/>
                  <a:gd name="connsiteY1" fmla="*/ 218313 h 218312"/>
                  <a:gd name="connsiteX2" fmla="*/ 0 w 218312"/>
                  <a:gd name="connsiteY2" fmla="*/ 109156 h 218312"/>
                  <a:gd name="connsiteX3" fmla="*/ 109157 w 218312"/>
                  <a:gd name="connsiteY3" fmla="*/ 0 h 218312"/>
                  <a:gd name="connsiteX4" fmla="*/ 218313 w 218312"/>
                  <a:gd name="connsiteY4" fmla="*/ 109156 h 2183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18312" h="218312">
                    <a:moveTo>
                      <a:pt x="218313" y="109156"/>
                    </a:moveTo>
                    <a:cubicBezTo>
                      <a:pt x="218313" y="169450"/>
                      <a:pt x="169450" y="218313"/>
                      <a:pt x="109157" y="218313"/>
                    </a:cubicBezTo>
                    <a:cubicBezTo>
                      <a:pt x="48863" y="218313"/>
                      <a:pt x="0" y="169450"/>
                      <a:pt x="0" y="109156"/>
                    </a:cubicBezTo>
                    <a:cubicBezTo>
                      <a:pt x="0" y="48863"/>
                      <a:pt x="48863" y="0"/>
                      <a:pt x="109157" y="0"/>
                    </a:cubicBezTo>
                    <a:cubicBezTo>
                      <a:pt x="169450" y="0"/>
                      <a:pt x="218313" y="48863"/>
                      <a:pt x="218313" y="109156"/>
                    </a:cubicBezTo>
                    <a:close/>
                  </a:path>
                </a:pathLst>
              </a:custGeom>
              <a:solidFill>
                <a:srgbClr val="F5898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 sz="1800"/>
              </a:p>
            </p:txBody>
          </p:sp>
          <p:sp>
            <p:nvSpPr>
              <p:cNvPr id="84" name="ïšḷïḑê">
                <a:extLst>
                  <a:ext uri="{FF2B5EF4-FFF2-40B4-BE49-F238E27FC236}">
                    <a16:creationId xmlns:a16="http://schemas.microsoft.com/office/drawing/2014/main" id="{901ACA2E-D0AB-4594-8D5E-047329125694}"/>
                  </a:ext>
                </a:extLst>
              </p:cNvPr>
              <p:cNvSpPr/>
              <p:nvPr/>
            </p:nvSpPr>
            <p:spPr>
              <a:xfrm>
                <a:off x="8014048" y="1702308"/>
                <a:ext cx="218312" cy="218312"/>
              </a:xfrm>
              <a:custGeom>
                <a:avLst/>
                <a:gdLst>
                  <a:gd name="connsiteX0" fmla="*/ 218313 w 218312"/>
                  <a:gd name="connsiteY0" fmla="*/ 109156 h 218312"/>
                  <a:gd name="connsiteX1" fmla="*/ 109157 w 218312"/>
                  <a:gd name="connsiteY1" fmla="*/ 218313 h 218312"/>
                  <a:gd name="connsiteX2" fmla="*/ 0 w 218312"/>
                  <a:gd name="connsiteY2" fmla="*/ 109156 h 218312"/>
                  <a:gd name="connsiteX3" fmla="*/ 109157 w 218312"/>
                  <a:gd name="connsiteY3" fmla="*/ 0 h 218312"/>
                  <a:gd name="connsiteX4" fmla="*/ 218313 w 218312"/>
                  <a:gd name="connsiteY4" fmla="*/ 109156 h 2183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18312" h="218312">
                    <a:moveTo>
                      <a:pt x="218313" y="109156"/>
                    </a:moveTo>
                    <a:cubicBezTo>
                      <a:pt x="218313" y="169450"/>
                      <a:pt x="169450" y="218313"/>
                      <a:pt x="109157" y="218313"/>
                    </a:cubicBezTo>
                    <a:cubicBezTo>
                      <a:pt x="48863" y="218313"/>
                      <a:pt x="0" y="169450"/>
                      <a:pt x="0" y="109156"/>
                    </a:cubicBezTo>
                    <a:cubicBezTo>
                      <a:pt x="0" y="48863"/>
                      <a:pt x="48863" y="0"/>
                      <a:pt x="109157" y="0"/>
                    </a:cubicBezTo>
                    <a:cubicBezTo>
                      <a:pt x="169450" y="0"/>
                      <a:pt x="218313" y="48863"/>
                      <a:pt x="218313" y="109156"/>
                    </a:cubicBezTo>
                    <a:close/>
                  </a:path>
                </a:pathLst>
              </a:custGeom>
              <a:solidFill>
                <a:srgbClr val="F5898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 sz="1800"/>
              </a:p>
            </p:txBody>
          </p:sp>
          <p:grpSp>
            <p:nvGrpSpPr>
              <p:cNvPr id="85" name="图形 5">
                <a:extLst>
                  <a:ext uri="{FF2B5EF4-FFF2-40B4-BE49-F238E27FC236}">
                    <a16:creationId xmlns:a16="http://schemas.microsoft.com/office/drawing/2014/main" id="{331D4E34-A35C-4245-A3E2-3C7E48B67764}"/>
                  </a:ext>
                </a:extLst>
              </p:cNvPr>
              <p:cNvGrpSpPr/>
              <p:nvPr/>
            </p:nvGrpSpPr>
            <p:grpSpPr>
              <a:xfrm>
                <a:off x="8105944" y="2465728"/>
                <a:ext cx="1282856" cy="579413"/>
                <a:chOff x="8105944" y="2465728"/>
                <a:chExt cx="1282856" cy="579413"/>
              </a:xfrm>
              <a:solidFill>
                <a:srgbClr val="F2EED7">
                  <a:alpha val="50000"/>
                </a:srgbClr>
              </a:solidFill>
            </p:grpSpPr>
            <p:sp>
              <p:nvSpPr>
                <p:cNvPr id="86" name="ïṧlïďê">
                  <a:extLst>
                    <a:ext uri="{FF2B5EF4-FFF2-40B4-BE49-F238E27FC236}">
                      <a16:creationId xmlns:a16="http://schemas.microsoft.com/office/drawing/2014/main" id="{1C5FE9BB-2858-4089-ABFF-EB8DCF3AA8AE}"/>
                    </a:ext>
                  </a:extLst>
                </p:cNvPr>
                <p:cNvSpPr/>
                <p:nvPr/>
              </p:nvSpPr>
              <p:spPr>
                <a:xfrm>
                  <a:off x="8105944" y="2591826"/>
                  <a:ext cx="1207430" cy="453315"/>
                </a:xfrm>
                <a:custGeom>
                  <a:avLst/>
                  <a:gdLst>
                    <a:gd name="connsiteX0" fmla="*/ 484272 w 1207430"/>
                    <a:gd name="connsiteY0" fmla="*/ 453316 h 453315"/>
                    <a:gd name="connsiteX1" fmla="*/ 19452 w 1207430"/>
                    <a:gd name="connsiteY1" fmla="*/ 315013 h 453315"/>
                    <a:gd name="connsiteX2" fmla="*/ 6974 w 1207430"/>
                    <a:gd name="connsiteY2" fmla="*/ 255672 h 453315"/>
                    <a:gd name="connsiteX3" fmla="*/ 66315 w 1207430"/>
                    <a:gd name="connsiteY3" fmla="*/ 243194 h 453315"/>
                    <a:gd name="connsiteX4" fmla="*/ 1128638 w 1207430"/>
                    <a:gd name="connsiteY4" fmla="*/ 19452 h 453315"/>
                    <a:gd name="connsiteX5" fmla="*/ 1187979 w 1207430"/>
                    <a:gd name="connsiteY5" fmla="*/ 6974 h 453315"/>
                    <a:gd name="connsiteX6" fmla="*/ 1200457 w 1207430"/>
                    <a:gd name="connsiteY6" fmla="*/ 66315 h 453315"/>
                    <a:gd name="connsiteX7" fmla="*/ 484272 w 1207430"/>
                    <a:gd name="connsiteY7" fmla="*/ 453316 h 45331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207430" h="453315">
                      <a:moveTo>
                        <a:pt x="484272" y="453316"/>
                      </a:moveTo>
                      <a:cubicBezTo>
                        <a:pt x="324538" y="453316"/>
                        <a:pt x="162994" y="408643"/>
                        <a:pt x="19452" y="315013"/>
                      </a:cubicBezTo>
                      <a:cubicBezTo>
                        <a:pt x="-360" y="302059"/>
                        <a:pt x="-5980" y="275484"/>
                        <a:pt x="6974" y="255672"/>
                      </a:cubicBezTo>
                      <a:cubicBezTo>
                        <a:pt x="19928" y="235860"/>
                        <a:pt x="46503" y="230240"/>
                        <a:pt x="66315" y="243194"/>
                      </a:cubicBezTo>
                      <a:cubicBezTo>
                        <a:pt x="420931" y="474366"/>
                        <a:pt x="897466" y="373972"/>
                        <a:pt x="1128638" y="19452"/>
                      </a:cubicBezTo>
                      <a:cubicBezTo>
                        <a:pt x="1141592" y="-360"/>
                        <a:pt x="1168167" y="-5980"/>
                        <a:pt x="1187979" y="6974"/>
                      </a:cubicBezTo>
                      <a:cubicBezTo>
                        <a:pt x="1207791" y="19928"/>
                        <a:pt x="1213411" y="46503"/>
                        <a:pt x="1200457" y="66315"/>
                      </a:cubicBezTo>
                      <a:cubicBezTo>
                        <a:pt x="1037008" y="316918"/>
                        <a:pt x="763259" y="453316"/>
                        <a:pt x="484272" y="453316"/>
                      </a:cubicBezTo>
                      <a:close/>
                    </a:path>
                  </a:pathLst>
                </a:custGeom>
                <a:solidFill>
                  <a:srgbClr val="F2EED7">
                    <a:alpha val="50000"/>
                  </a:srgbClr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 sz="1800"/>
                </a:p>
              </p:txBody>
            </p:sp>
            <p:sp>
              <p:nvSpPr>
                <p:cNvPr id="87" name="ïṩḷiḓè">
                  <a:extLst>
                    <a:ext uri="{FF2B5EF4-FFF2-40B4-BE49-F238E27FC236}">
                      <a16:creationId xmlns:a16="http://schemas.microsoft.com/office/drawing/2014/main" id="{48B47D43-FAF3-4CE8-B5F3-84D918D1047C}"/>
                    </a:ext>
                  </a:extLst>
                </p:cNvPr>
                <p:cNvSpPr/>
                <p:nvPr/>
              </p:nvSpPr>
              <p:spPr>
                <a:xfrm>
                  <a:off x="9288961" y="2465728"/>
                  <a:ext cx="99838" cy="99838"/>
                </a:xfrm>
                <a:custGeom>
                  <a:avLst/>
                  <a:gdLst>
                    <a:gd name="connsiteX0" fmla="*/ 38870 w 99838"/>
                    <a:gd name="connsiteY0" fmla="*/ 98592 h 99838"/>
                    <a:gd name="connsiteX1" fmla="*/ 1246 w 99838"/>
                    <a:gd name="connsiteY1" fmla="*/ 38870 h 99838"/>
                    <a:gd name="connsiteX2" fmla="*/ 60968 w 99838"/>
                    <a:gd name="connsiteY2" fmla="*/ 1246 h 99838"/>
                    <a:gd name="connsiteX3" fmla="*/ 98592 w 99838"/>
                    <a:gd name="connsiteY3" fmla="*/ 60968 h 99838"/>
                    <a:gd name="connsiteX4" fmla="*/ 38870 w 99838"/>
                    <a:gd name="connsiteY4" fmla="*/ 98592 h 9983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99838" h="99838">
                      <a:moveTo>
                        <a:pt x="38870" y="98592"/>
                      </a:moveTo>
                      <a:cubicBezTo>
                        <a:pt x="12009" y="92496"/>
                        <a:pt x="-4849" y="65731"/>
                        <a:pt x="1246" y="38870"/>
                      </a:cubicBezTo>
                      <a:cubicBezTo>
                        <a:pt x="7342" y="12010"/>
                        <a:pt x="34108" y="-4850"/>
                        <a:pt x="60968" y="1246"/>
                      </a:cubicBezTo>
                      <a:cubicBezTo>
                        <a:pt x="87829" y="7342"/>
                        <a:pt x="104688" y="34108"/>
                        <a:pt x="98592" y="60968"/>
                      </a:cubicBezTo>
                      <a:cubicBezTo>
                        <a:pt x="92496" y="87829"/>
                        <a:pt x="65731" y="104688"/>
                        <a:pt x="38870" y="98592"/>
                      </a:cubicBezTo>
                      <a:close/>
                    </a:path>
                  </a:pathLst>
                </a:custGeom>
                <a:solidFill>
                  <a:srgbClr val="F2EED7">
                    <a:alpha val="50000"/>
                  </a:srgbClr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 sz="1800"/>
                </a:p>
              </p:txBody>
            </p:sp>
          </p:grpSp>
        </p:grpSp>
        <p:sp>
          <p:nvSpPr>
            <p:cNvPr id="75" name="išḻíďé">
              <a:extLst>
                <a:ext uri="{FF2B5EF4-FFF2-40B4-BE49-F238E27FC236}">
                  <a16:creationId xmlns:a16="http://schemas.microsoft.com/office/drawing/2014/main" id="{94D8C1A1-8C85-4627-B545-CC7E4BF126F9}"/>
                </a:ext>
              </a:extLst>
            </p:cNvPr>
            <p:cNvSpPr/>
            <p:nvPr/>
          </p:nvSpPr>
          <p:spPr>
            <a:xfrm>
              <a:off x="7651241" y="1308163"/>
              <a:ext cx="1607153" cy="1825942"/>
            </a:xfrm>
            <a:custGeom>
              <a:avLst/>
              <a:gdLst>
                <a:gd name="connsiteX0" fmla="*/ 157163 w 1607153"/>
                <a:gd name="connsiteY0" fmla="*/ 741712 h 1825942"/>
                <a:gd name="connsiteX1" fmla="*/ 499586 w 1607153"/>
                <a:gd name="connsiteY1" fmla="*/ 0 h 1825942"/>
                <a:gd name="connsiteX2" fmla="*/ 0 w 1607153"/>
                <a:gd name="connsiteY2" fmla="*/ 851154 h 1825942"/>
                <a:gd name="connsiteX3" fmla="*/ 974788 w 1607153"/>
                <a:gd name="connsiteY3" fmla="*/ 1825942 h 1825942"/>
                <a:gd name="connsiteX4" fmla="*/ 1607153 w 1607153"/>
                <a:gd name="connsiteY4" fmla="*/ 1592961 h 1825942"/>
                <a:gd name="connsiteX5" fmla="*/ 1131951 w 1607153"/>
                <a:gd name="connsiteY5" fmla="*/ 1716500 h 1825942"/>
                <a:gd name="connsiteX6" fmla="*/ 157163 w 1607153"/>
                <a:gd name="connsiteY6" fmla="*/ 741712 h 18259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607153" h="1825942">
                  <a:moveTo>
                    <a:pt x="157163" y="741712"/>
                  </a:moveTo>
                  <a:cubicBezTo>
                    <a:pt x="157163" y="444722"/>
                    <a:pt x="290036" y="178784"/>
                    <a:pt x="499586" y="0"/>
                  </a:cubicBezTo>
                  <a:cubicBezTo>
                    <a:pt x="201549" y="166783"/>
                    <a:pt x="0" y="485394"/>
                    <a:pt x="0" y="851154"/>
                  </a:cubicBezTo>
                  <a:cubicBezTo>
                    <a:pt x="0" y="1389507"/>
                    <a:pt x="436435" y="1825942"/>
                    <a:pt x="974788" y="1825942"/>
                  </a:cubicBezTo>
                  <a:cubicBezTo>
                    <a:pt x="1216152" y="1825942"/>
                    <a:pt x="1436941" y="1738217"/>
                    <a:pt x="1607153" y="1592961"/>
                  </a:cubicBezTo>
                  <a:cubicBezTo>
                    <a:pt x="1466564" y="1671638"/>
                    <a:pt x="1304448" y="1716500"/>
                    <a:pt x="1131951" y="1716500"/>
                  </a:cubicBezTo>
                  <a:cubicBezTo>
                    <a:pt x="593598" y="1716405"/>
                    <a:pt x="157163" y="1280065"/>
                    <a:pt x="157163" y="741712"/>
                  </a:cubicBezTo>
                  <a:close/>
                </a:path>
              </a:pathLst>
            </a:custGeom>
            <a:solidFill>
              <a:srgbClr val="773020">
                <a:alpha val="20000"/>
              </a:srgb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 sz="1800"/>
            </a:p>
          </p:txBody>
        </p:sp>
      </p:grpSp>
      <p:grpSp>
        <p:nvGrpSpPr>
          <p:cNvPr id="88" name="图形 5">
            <a:extLst>
              <a:ext uri="{FF2B5EF4-FFF2-40B4-BE49-F238E27FC236}">
                <a16:creationId xmlns:a16="http://schemas.microsoft.com/office/drawing/2014/main" id="{DA6EFB96-CFDB-41D1-9064-07CB4B6C56BD}"/>
              </a:ext>
            </a:extLst>
          </p:cNvPr>
          <p:cNvGrpSpPr/>
          <p:nvPr userDrawn="1"/>
        </p:nvGrpSpPr>
        <p:grpSpPr>
          <a:xfrm rot="20031846">
            <a:off x="9345552" y="-447521"/>
            <a:ext cx="4710949" cy="4180631"/>
            <a:chOff x="4924596" y="919509"/>
            <a:chExt cx="2527720" cy="2243171"/>
          </a:xfrm>
          <a:solidFill>
            <a:schemeClr val="accent1"/>
          </a:solidFill>
        </p:grpSpPr>
        <p:grpSp>
          <p:nvGrpSpPr>
            <p:cNvPr id="89" name="图形 5">
              <a:extLst>
                <a:ext uri="{FF2B5EF4-FFF2-40B4-BE49-F238E27FC236}">
                  <a16:creationId xmlns:a16="http://schemas.microsoft.com/office/drawing/2014/main" id="{E202FB91-D251-4904-975A-4D0361AFAD2E}"/>
                </a:ext>
              </a:extLst>
            </p:cNvPr>
            <p:cNvGrpSpPr/>
            <p:nvPr/>
          </p:nvGrpSpPr>
          <p:grpSpPr>
            <a:xfrm>
              <a:off x="4924596" y="919509"/>
              <a:ext cx="2527720" cy="2243171"/>
              <a:chOff x="4924596" y="919509"/>
              <a:chExt cx="2527720" cy="2243171"/>
            </a:xfrm>
            <a:solidFill>
              <a:schemeClr val="accent1"/>
            </a:solidFill>
          </p:grpSpPr>
          <p:grpSp>
            <p:nvGrpSpPr>
              <p:cNvPr id="91" name="图形 5">
                <a:extLst>
                  <a:ext uri="{FF2B5EF4-FFF2-40B4-BE49-F238E27FC236}">
                    <a16:creationId xmlns:a16="http://schemas.microsoft.com/office/drawing/2014/main" id="{4C849268-1489-4562-AD06-A8DEACEF0F27}"/>
                  </a:ext>
                </a:extLst>
              </p:cNvPr>
              <p:cNvGrpSpPr/>
              <p:nvPr/>
            </p:nvGrpSpPr>
            <p:grpSpPr>
              <a:xfrm>
                <a:off x="4924596" y="919604"/>
                <a:ext cx="765977" cy="602204"/>
                <a:chOff x="4924596" y="919604"/>
                <a:chExt cx="765977" cy="602204"/>
              </a:xfrm>
              <a:solidFill>
                <a:srgbClr val="883827"/>
              </a:solidFill>
            </p:grpSpPr>
            <p:sp>
              <p:nvSpPr>
                <p:cNvPr id="126" name="íśľíḋè">
                  <a:extLst>
                    <a:ext uri="{FF2B5EF4-FFF2-40B4-BE49-F238E27FC236}">
                      <a16:creationId xmlns:a16="http://schemas.microsoft.com/office/drawing/2014/main" id="{D239058E-BD5F-4D7E-A918-FAD79CB92633}"/>
                    </a:ext>
                  </a:extLst>
                </p:cNvPr>
                <p:cNvSpPr/>
                <p:nvPr/>
              </p:nvSpPr>
              <p:spPr>
                <a:xfrm>
                  <a:off x="5006243" y="919604"/>
                  <a:ext cx="579726" cy="415038"/>
                </a:xfrm>
                <a:custGeom>
                  <a:avLst/>
                  <a:gdLst>
                    <a:gd name="connsiteX0" fmla="*/ 257938 w 579726"/>
                    <a:gd name="connsiteY0" fmla="*/ 415039 h 415038"/>
                    <a:gd name="connsiteX1" fmla="*/ 250603 w 579726"/>
                    <a:gd name="connsiteY1" fmla="*/ 414848 h 415038"/>
                    <a:gd name="connsiteX2" fmla="*/ 1239 w 579726"/>
                    <a:gd name="connsiteY2" fmla="*/ 117287 h 415038"/>
                    <a:gd name="connsiteX3" fmla="*/ 20193 w 579726"/>
                    <a:gd name="connsiteY3" fmla="*/ 81664 h 415038"/>
                    <a:gd name="connsiteX4" fmla="*/ 55912 w 579726"/>
                    <a:gd name="connsiteY4" fmla="*/ 100618 h 415038"/>
                    <a:gd name="connsiteX5" fmla="*/ 253461 w 579726"/>
                    <a:gd name="connsiteY5" fmla="*/ 357889 h 415038"/>
                    <a:gd name="connsiteX6" fmla="*/ 524733 w 579726"/>
                    <a:gd name="connsiteY6" fmla="*/ 17560 h 415038"/>
                    <a:gd name="connsiteX7" fmla="*/ 562166 w 579726"/>
                    <a:gd name="connsiteY7" fmla="*/ 2225 h 415038"/>
                    <a:gd name="connsiteX8" fmla="*/ 577501 w 579726"/>
                    <a:gd name="connsiteY8" fmla="*/ 39658 h 415038"/>
                    <a:gd name="connsiteX9" fmla="*/ 257938 w 579726"/>
                    <a:gd name="connsiteY9" fmla="*/ 415039 h 41503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579726" h="415038">
                      <a:moveTo>
                        <a:pt x="257938" y="415039"/>
                      </a:moveTo>
                      <a:cubicBezTo>
                        <a:pt x="255461" y="415039"/>
                        <a:pt x="253080" y="414943"/>
                        <a:pt x="250603" y="414848"/>
                      </a:cubicBezTo>
                      <a:cubicBezTo>
                        <a:pt x="91536" y="406942"/>
                        <a:pt x="4858" y="129098"/>
                        <a:pt x="1239" y="117287"/>
                      </a:cubicBezTo>
                      <a:cubicBezTo>
                        <a:pt x="-3333" y="102238"/>
                        <a:pt x="5144" y="86236"/>
                        <a:pt x="20193" y="81664"/>
                      </a:cubicBezTo>
                      <a:cubicBezTo>
                        <a:pt x="35243" y="77092"/>
                        <a:pt x="51245" y="85569"/>
                        <a:pt x="55912" y="100618"/>
                      </a:cubicBezTo>
                      <a:cubicBezTo>
                        <a:pt x="77343" y="170532"/>
                        <a:pt x="154591" y="352936"/>
                        <a:pt x="253461" y="357889"/>
                      </a:cubicBezTo>
                      <a:cubicBezTo>
                        <a:pt x="311182" y="360746"/>
                        <a:pt x="404813" y="303977"/>
                        <a:pt x="524733" y="17560"/>
                      </a:cubicBezTo>
                      <a:cubicBezTo>
                        <a:pt x="530829" y="2987"/>
                        <a:pt x="547593" y="-3871"/>
                        <a:pt x="562166" y="2225"/>
                      </a:cubicBezTo>
                      <a:cubicBezTo>
                        <a:pt x="576739" y="8321"/>
                        <a:pt x="583597" y="25085"/>
                        <a:pt x="577501" y="39658"/>
                      </a:cubicBezTo>
                      <a:cubicBezTo>
                        <a:pt x="471774" y="292071"/>
                        <a:pt x="367094" y="415039"/>
                        <a:pt x="257938" y="415039"/>
                      </a:cubicBezTo>
                      <a:close/>
                    </a:path>
                  </a:pathLst>
                </a:custGeom>
                <a:solidFill>
                  <a:srgbClr val="883827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 sz="1800"/>
                </a:p>
              </p:txBody>
            </p:sp>
            <p:sp>
              <p:nvSpPr>
                <p:cNvPr id="127" name="ïšļiḍê">
                  <a:extLst>
                    <a:ext uri="{FF2B5EF4-FFF2-40B4-BE49-F238E27FC236}">
                      <a16:creationId xmlns:a16="http://schemas.microsoft.com/office/drawing/2014/main" id="{DA7CF384-C3A1-48CD-9827-7D04F03D89A0}"/>
                    </a:ext>
                  </a:extLst>
                </p:cNvPr>
                <p:cNvSpPr/>
                <p:nvPr/>
              </p:nvSpPr>
              <p:spPr>
                <a:xfrm>
                  <a:off x="4924596" y="989403"/>
                  <a:ext cx="765977" cy="348192"/>
                </a:xfrm>
                <a:custGeom>
                  <a:avLst/>
                  <a:gdLst>
                    <a:gd name="connsiteX0" fmla="*/ 336251 w 765977"/>
                    <a:gd name="connsiteY0" fmla="*/ 348193 h 348192"/>
                    <a:gd name="connsiteX1" fmla="*/ 318058 w 765977"/>
                    <a:gd name="connsiteY1" fmla="*/ 347621 h 348192"/>
                    <a:gd name="connsiteX2" fmla="*/ 3352 w 765977"/>
                    <a:gd name="connsiteY2" fmla="*/ 117211 h 348192"/>
                    <a:gd name="connsiteX3" fmla="*/ 15259 w 765977"/>
                    <a:gd name="connsiteY3" fmla="*/ 78540 h 348192"/>
                    <a:gd name="connsiteX4" fmla="*/ 53835 w 765977"/>
                    <a:gd name="connsiteY4" fmla="*/ 90446 h 348192"/>
                    <a:gd name="connsiteX5" fmla="*/ 321964 w 765977"/>
                    <a:gd name="connsiteY5" fmla="*/ 290662 h 348192"/>
                    <a:gd name="connsiteX6" fmla="*/ 714013 w 765977"/>
                    <a:gd name="connsiteY6" fmla="*/ 12151 h 348192"/>
                    <a:gd name="connsiteX7" fmla="*/ 753827 w 765977"/>
                    <a:gd name="connsiteY7" fmla="*/ 5197 h 348192"/>
                    <a:gd name="connsiteX8" fmla="*/ 760780 w 765977"/>
                    <a:gd name="connsiteY8" fmla="*/ 45012 h 348192"/>
                    <a:gd name="connsiteX9" fmla="*/ 336251 w 765977"/>
                    <a:gd name="connsiteY9" fmla="*/ 348193 h 3481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765977" h="348192">
                      <a:moveTo>
                        <a:pt x="336251" y="348193"/>
                      </a:moveTo>
                      <a:cubicBezTo>
                        <a:pt x="330155" y="348193"/>
                        <a:pt x="324154" y="348002"/>
                        <a:pt x="318058" y="347621"/>
                      </a:cubicBezTo>
                      <a:cubicBezTo>
                        <a:pt x="120986" y="335239"/>
                        <a:pt x="8020" y="126070"/>
                        <a:pt x="3352" y="117211"/>
                      </a:cubicBezTo>
                      <a:cubicBezTo>
                        <a:pt x="-4077" y="103305"/>
                        <a:pt x="1257" y="85969"/>
                        <a:pt x="15259" y="78540"/>
                      </a:cubicBezTo>
                      <a:cubicBezTo>
                        <a:pt x="29165" y="71206"/>
                        <a:pt x="46501" y="76444"/>
                        <a:pt x="53835" y="90446"/>
                      </a:cubicBezTo>
                      <a:cubicBezTo>
                        <a:pt x="54978" y="92637"/>
                        <a:pt x="156991" y="280470"/>
                        <a:pt x="321964" y="290662"/>
                      </a:cubicBezTo>
                      <a:cubicBezTo>
                        <a:pt x="447027" y="298377"/>
                        <a:pt x="578853" y="204651"/>
                        <a:pt x="714013" y="12151"/>
                      </a:cubicBezTo>
                      <a:cubicBezTo>
                        <a:pt x="723061" y="-803"/>
                        <a:pt x="740873" y="-3851"/>
                        <a:pt x="753827" y="5197"/>
                      </a:cubicBezTo>
                      <a:cubicBezTo>
                        <a:pt x="766781" y="14246"/>
                        <a:pt x="769829" y="32058"/>
                        <a:pt x="760780" y="45012"/>
                      </a:cubicBezTo>
                      <a:cubicBezTo>
                        <a:pt x="619334" y="246275"/>
                        <a:pt x="476650" y="348193"/>
                        <a:pt x="336251" y="348193"/>
                      </a:cubicBezTo>
                      <a:close/>
                    </a:path>
                  </a:pathLst>
                </a:custGeom>
                <a:solidFill>
                  <a:srgbClr val="883827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 sz="1800"/>
                </a:p>
              </p:txBody>
            </p:sp>
            <p:sp>
              <p:nvSpPr>
                <p:cNvPr id="128" name="ïŝļïḑé">
                  <a:extLst>
                    <a:ext uri="{FF2B5EF4-FFF2-40B4-BE49-F238E27FC236}">
                      <a16:creationId xmlns:a16="http://schemas.microsoft.com/office/drawing/2014/main" id="{5FCB7F1D-B270-4C2A-8939-6A1BA516AE13}"/>
                    </a:ext>
                  </a:extLst>
                </p:cNvPr>
                <p:cNvSpPr/>
                <p:nvPr/>
              </p:nvSpPr>
              <p:spPr>
                <a:xfrm>
                  <a:off x="5248083" y="1279103"/>
                  <a:ext cx="372786" cy="242705"/>
                </a:xfrm>
                <a:custGeom>
                  <a:avLst/>
                  <a:gdLst>
                    <a:gd name="connsiteX0" fmla="*/ 245650 w 372786"/>
                    <a:gd name="connsiteY0" fmla="*/ 242705 h 242705"/>
                    <a:gd name="connsiteX1" fmla="*/ 151067 w 372786"/>
                    <a:gd name="connsiteY1" fmla="*/ 221465 h 242705"/>
                    <a:gd name="connsiteX2" fmla="*/ 1239 w 372786"/>
                    <a:gd name="connsiteY2" fmla="*/ 36965 h 242705"/>
                    <a:gd name="connsiteX3" fmla="*/ 20194 w 372786"/>
                    <a:gd name="connsiteY3" fmla="*/ 1247 h 242705"/>
                    <a:gd name="connsiteX4" fmla="*/ 55912 w 372786"/>
                    <a:gd name="connsiteY4" fmla="*/ 20201 h 242705"/>
                    <a:gd name="connsiteX5" fmla="*/ 55912 w 372786"/>
                    <a:gd name="connsiteY5" fmla="*/ 20201 h 242705"/>
                    <a:gd name="connsiteX6" fmla="*/ 176022 w 372786"/>
                    <a:gd name="connsiteY6" fmla="*/ 170125 h 242705"/>
                    <a:gd name="connsiteX7" fmla="*/ 333566 w 372786"/>
                    <a:gd name="connsiteY7" fmla="*/ 166791 h 242705"/>
                    <a:gd name="connsiteX8" fmla="*/ 370713 w 372786"/>
                    <a:gd name="connsiteY8" fmla="*/ 182698 h 242705"/>
                    <a:gd name="connsiteX9" fmla="*/ 354807 w 372786"/>
                    <a:gd name="connsiteY9" fmla="*/ 219845 h 242705"/>
                    <a:gd name="connsiteX10" fmla="*/ 245650 w 372786"/>
                    <a:gd name="connsiteY10" fmla="*/ 242705 h 24270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372786" h="242705">
                      <a:moveTo>
                        <a:pt x="245650" y="242705"/>
                      </a:moveTo>
                      <a:cubicBezTo>
                        <a:pt x="212313" y="242705"/>
                        <a:pt x="180785" y="235657"/>
                        <a:pt x="151067" y="221465"/>
                      </a:cubicBezTo>
                      <a:cubicBezTo>
                        <a:pt x="42958" y="169744"/>
                        <a:pt x="2953" y="42299"/>
                        <a:pt x="1239" y="36965"/>
                      </a:cubicBezTo>
                      <a:cubicBezTo>
                        <a:pt x="-3333" y="21916"/>
                        <a:pt x="5144" y="5914"/>
                        <a:pt x="20194" y="1247"/>
                      </a:cubicBezTo>
                      <a:cubicBezTo>
                        <a:pt x="35243" y="-3325"/>
                        <a:pt x="51245" y="5057"/>
                        <a:pt x="55912" y="20201"/>
                      </a:cubicBezTo>
                      <a:lnTo>
                        <a:pt x="55912" y="20201"/>
                      </a:lnTo>
                      <a:cubicBezTo>
                        <a:pt x="56293" y="21249"/>
                        <a:pt x="90679" y="129453"/>
                        <a:pt x="176022" y="170125"/>
                      </a:cubicBezTo>
                      <a:cubicBezTo>
                        <a:pt x="221362" y="191747"/>
                        <a:pt x="274416" y="190604"/>
                        <a:pt x="333566" y="166791"/>
                      </a:cubicBezTo>
                      <a:cubicBezTo>
                        <a:pt x="348235" y="160886"/>
                        <a:pt x="364808" y="168029"/>
                        <a:pt x="370713" y="182698"/>
                      </a:cubicBezTo>
                      <a:cubicBezTo>
                        <a:pt x="376619" y="197366"/>
                        <a:pt x="369475" y="213940"/>
                        <a:pt x="354807" y="219845"/>
                      </a:cubicBezTo>
                      <a:cubicBezTo>
                        <a:pt x="316802" y="235085"/>
                        <a:pt x="280226" y="242705"/>
                        <a:pt x="245650" y="242705"/>
                      </a:cubicBezTo>
                      <a:close/>
                    </a:path>
                  </a:pathLst>
                </a:custGeom>
                <a:solidFill>
                  <a:srgbClr val="883827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 sz="1800"/>
                </a:p>
              </p:txBody>
            </p:sp>
          </p:grpSp>
          <p:grpSp>
            <p:nvGrpSpPr>
              <p:cNvPr id="92" name="图形 5">
                <a:extLst>
                  <a:ext uri="{FF2B5EF4-FFF2-40B4-BE49-F238E27FC236}">
                    <a16:creationId xmlns:a16="http://schemas.microsoft.com/office/drawing/2014/main" id="{79550C8E-067D-48C9-8B0E-677CEE6EE152}"/>
                  </a:ext>
                </a:extLst>
              </p:cNvPr>
              <p:cNvGrpSpPr/>
              <p:nvPr/>
            </p:nvGrpSpPr>
            <p:grpSpPr>
              <a:xfrm>
                <a:off x="6686400" y="919509"/>
                <a:ext cx="765917" cy="602300"/>
                <a:chOff x="6686400" y="919509"/>
                <a:chExt cx="765917" cy="602300"/>
              </a:xfrm>
              <a:solidFill>
                <a:srgbClr val="883827"/>
              </a:solidFill>
            </p:grpSpPr>
            <p:sp>
              <p:nvSpPr>
                <p:cNvPr id="123" name="íṣḻïḑê">
                  <a:extLst>
                    <a:ext uri="{FF2B5EF4-FFF2-40B4-BE49-F238E27FC236}">
                      <a16:creationId xmlns:a16="http://schemas.microsoft.com/office/drawing/2014/main" id="{28F23862-7E97-4397-830F-CC7F327A2B77}"/>
                    </a:ext>
                  </a:extLst>
                </p:cNvPr>
                <p:cNvSpPr/>
                <p:nvPr/>
              </p:nvSpPr>
              <p:spPr>
                <a:xfrm>
                  <a:off x="6791099" y="919509"/>
                  <a:ext cx="579761" cy="415133"/>
                </a:xfrm>
                <a:custGeom>
                  <a:avLst/>
                  <a:gdLst>
                    <a:gd name="connsiteX0" fmla="*/ 321789 w 579761"/>
                    <a:gd name="connsiteY0" fmla="*/ 415134 h 415133"/>
                    <a:gd name="connsiteX1" fmla="*/ 2225 w 579761"/>
                    <a:gd name="connsiteY1" fmla="*/ 39658 h 415133"/>
                    <a:gd name="connsiteX2" fmla="*/ 17560 w 579761"/>
                    <a:gd name="connsiteY2" fmla="*/ 2225 h 415133"/>
                    <a:gd name="connsiteX3" fmla="*/ 54994 w 579761"/>
                    <a:gd name="connsiteY3" fmla="*/ 17560 h 415133"/>
                    <a:gd name="connsiteX4" fmla="*/ 326266 w 579761"/>
                    <a:gd name="connsiteY4" fmla="*/ 357889 h 415133"/>
                    <a:gd name="connsiteX5" fmla="*/ 523814 w 579761"/>
                    <a:gd name="connsiteY5" fmla="*/ 100714 h 415133"/>
                    <a:gd name="connsiteX6" fmla="*/ 559533 w 579761"/>
                    <a:gd name="connsiteY6" fmla="*/ 81759 h 415133"/>
                    <a:gd name="connsiteX7" fmla="*/ 578488 w 579761"/>
                    <a:gd name="connsiteY7" fmla="*/ 117478 h 415133"/>
                    <a:gd name="connsiteX8" fmla="*/ 329123 w 579761"/>
                    <a:gd name="connsiteY8" fmla="*/ 415039 h 415133"/>
                    <a:gd name="connsiteX9" fmla="*/ 321789 w 579761"/>
                    <a:gd name="connsiteY9" fmla="*/ 415134 h 4151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579761" h="415133">
                      <a:moveTo>
                        <a:pt x="321789" y="415134"/>
                      </a:moveTo>
                      <a:cubicBezTo>
                        <a:pt x="212537" y="415134"/>
                        <a:pt x="107953" y="292166"/>
                        <a:pt x="2225" y="39658"/>
                      </a:cubicBezTo>
                      <a:cubicBezTo>
                        <a:pt x="-3871" y="25085"/>
                        <a:pt x="2987" y="8321"/>
                        <a:pt x="17560" y="2225"/>
                      </a:cubicBezTo>
                      <a:cubicBezTo>
                        <a:pt x="32038" y="-3871"/>
                        <a:pt x="48898" y="2987"/>
                        <a:pt x="54994" y="17560"/>
                      </a:cubicBezTo>
                      <a:cubicBezTo>
                        <a:pt x="174913" y="303977"/>
                        <a:pt x="268449" y="360746"/>
                        <a:pt x="326266" y="357889"/>
                      </a:cubicBezTo>
                      <a:cubicBezTo>
                        <a:pt x="425326" y="352936"/>
                        <a:pt x="502478" y="170532"/>
                        <a:pt x="523814" y="100714"/>
                      </a:cubicBezTo>
                      <a:cubicBezTo>
                        <a:pt x="528481" y="85664"/>
                        <a:pt x="544388" y="77092"/>
                        <a:pt x="559533" y="81759"/>
                      </a:cubicBezTo>
                      <a:cubicBezTo>
                        <a:pt x="574582" y="86331"/>
                        <a:pt x="583155" y="102333"/>
                        <a:pt x="578488" y="117478"/>
                      </a:cubicBezTo>
                      <a:cubicBezTo>
                        <a:pt x="574868" y="129289"/>
                        <a:pt x="488191" y="407133"/>
                        <a:pt x="329123" y="415039"/>
                      </a:cubicBezTo>
                      <a:cubicBezTo>
                        <a:pt x="326647" y="415134"/>
                        <a:pt x="324170" y="415134"/>
                        <a:pt x="321789" y="415134"/>
                      </a:cubicBezTo>
                      <a:close/>
                    </a:path>
                  </a:pathLst>
                </a:custGeom>
                <a:solidFill>
                  <a:srgbClr val="883827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 sz="1800"/>
                </a:p>
              </p:txBody>
            </p:sp>
            <p:sp>
              <p:nvSpPr>
                <p:cNvPr id="124" name="íŝlídê">
                  <a:extLst>
                    <a:ext uri="{FF2B5EF4-FFF2-40B4-BE49-F238E27FC236}">
                      <a16:creationId xmlns:a16="http://schemas.microsoft.com/office/drawing/2014/main" id="{97FD46D1-ADB9-4CBE-981C-D199FC301B18}"/>
                    </a:ext>
                  </a:extLst>
                </p:cNvPr>
                <p:cNvSpPr/>
                <p:nvPr/>
              </p:nvSpPr>
              <p:spPr>
                <a:xfrm>
                  <a:off x="6686400" y="989334"/>
                  <a:ext cx="765917" cy="348261"/>
                </a:xfrm>
                <a:custGeom>
                  <a:avLst/>
                  <a:gdLst>
                    <a:gd name="connsiteX0" fmla="*/ 429727 w 765917"/>
                    <a:gd name="connsiteY0" fmla="*/ 348262 h 348261"/>
                    <a:gd name="connsiteX1" fmla="*/ 5197 w 765917"/>
                    <a:gd name="connsiteY1" fmla="*/ 44986 h 348261"/>
                    <a:gd name="connsiteX2" fmla="*/ 12151 w 765917"/>
                    <a:gd name="connsiteY2" fmla="*/ 5171 h 348261"/>
                    <a:gd name="connsiteX3" fmla="*/ 51965 w 765917"/>
                    <a:gd name="connsiteY3" fmla="*/ 12124 h 348261"/>
                    <a:gd name="connsiteX4" fmla="*/ 444300 w 765917"/>
                    <a:gd name="connsiteY4" fmla="*/ 290635 h 348261"/>
                    <a:gd name="connsiteX5" fmla="*/ 712143 w 765917"/>
                    <a:gd name="connsiteY5" fmla="*/ 90515 h 348261"/>
                    <a:gd name="connsiteX6" fmla="*/ 750719 w 765917"/>
                    <a:gd name="connsiteY6" fmla="*/ 78609 h 348261"/>
                    <a:gd name="connsiteX7" fmla="*/ 762625 w 765917"/>
                    <a:gd name="connsiteY7" fmla="*/ 117280 h 348261"/>
                    <a:gd name="connsiteX8" fmla="*/ 447920 w 765917"/>
                    <a:gd name="connsiteY8" fmla="*/ 347690 h 348261"/>
                    <a:gd name="connsiteX9" fmla="*/ 429727 w 765917"/>
                    <a:gd name="connsiteY9" fmla="*/ 348262 h 34826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765917" h="348261">
                      <a:moveTo>
                        <a:pt x="429727" y="348262"/>
                      </a:moveTo>
                      <a:cubicBezTo>
                        <a:pt x="289328" y="348262"/>
                        <a:pt x="146644" y="246344"/>
                        <a:pt x="5197" y="44986"/>
                      </a:cubicBezTo>
                      <a:cubicBezTo>
                        <a:pt x="-3851" y="32032"/>
                        <a:pt x="-803" y="14220"/>
                        <a:pt x="12151" y="5171"/>
                      </a:cubicBezTo>
                      <a:cubicBezTo>
                        <a:pt x="25105" y="-3878"/>
                        <a:pt x="42916" y="-734"/>
                        <a:pt x="51965" y="12124"/>
                      </a:cubicBezTo>
                      <a:cubicBezTo>
                        <a:pt x="187315" y="204815"/>
                        <a:pt x="319237" y="298541"/>
                        <a:pt x="444300" y="290635"/>
                      </a:cubicBezTo>
                      <a:cubicBezTo>
                        <a:pt x="609749" y="280253"/>
                        <a:pt x="711095" y="92420"/>
                        <a:pt x="712143" y="90515"/>
                      </a:cubicBezTo>
                      <a:cubicBezTo>
                        <a:pt x="719477" y="76609"/>
                        <a:pt x="736813" y="71275"/>
                        <a:pt x="750719" y="78609"/>
                      </a:cubicBezTo>
                      <a:cubicBezTo>
                        <a:pt x="764626" y="86038"/>
                        <a:pt x="769960" y="103279"/>
                        <a:pt x="762625" y="117280"/>
                      </a:cubicBezTo>
                      <a:cubicBezTo>
                        <a:pt x="757863" y="126139"/>
                        <a:pt x="644992" y="335308"/>
                        <a:pt x="447920" y="347690"/>
                      </a:cubicBezTo>
                      <a:cubicBezTo>
                        <a:pt x="441823" y="348071"/>
                        <a:pt x="435823" y="348262"/>
                        <a:pt x="429727" y="348262"/>
                      </a:cubicBezTo>
                      <a:close/>
                    </a:path>
                  </a:pathLst>
                </a:custGeom>
                <a:solidFill>
                  <a:srgbClr val="883827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 sz="1800"/>
                </a:p>
              </p:txBody>
            </p:sp>
            <p:sp>
              <p:nvSpPr>
                <p:cNvPr id="125" name="îṡḻïḍe">
                  <a:extLst>
                    <a:ext uri="{FF2B5EF4-FFF2-40B4-BE49-F238E27FC236}">
                      <a16:creationId xmlns:a16="http://schemas.microsoft.com/office/drawing/2014/main" id="{5CF43B6B-ED6C-4A13-8CC6-45C4139EFABF}"/>
                    </a:ext>
                  </a:extLst>
                </p:cNvPr>
                <p:cNvSpPr/>
                <p:nvPr/>
              </p:nvSpPr>
              <p:spPr>
                <a:xfrm>
                  <a:off x="6756143" y="1278981"/>
                  <a:ext cx="372782" cy="242827"/>
                </a:xfrm>
                <a:custGeom>
                  <a:avLst/>
                  <a:gdLst>
                    <a:gd name="connsiteX0" fmla="*/ 127193 w 372782"/>
                    <a:gd name="connsiteY0" fmla="*/ 242828 h 242827"/>
                    <a:gd name="connsiteX1" fmla="*/ 17941 w 372782"/>
                    <a:gd name="connsiteY1" fmla="*/ 219873 h 242827"/>
                    <a:gd name="connsiteX2" fmla="*/ 2034 w 372782"/>
                    <a:gd name="connsiteY2" fmla="*/ 182725 h 242827"/>
                    <a:gd name="connsiteX3" fmla="*/ 39182 w 372782"/>
                    <a:gd name="connsiteY3" fmla="*/ 166818 h 242827"/>
                    <a:gd name="connsiteX4" fmla="*/ 197011 w 372782"/>
                    <a:gd name="connsiteY4" fmla="*/ 169962 h 242827"/>
                    <a:gd name="connsiteX5" fmla="*/ 316835 w 372782"/>
                    <a:gd name="connsiteY5" fmla="*/ 20229 h 242827"/>
                    <a:gd name="connsiteX6" fmla="*/ 352554 w 372782"/>
                    <a:gd name="connsiteY6" fmla="*/ 1274 h 242827"/>
                    <a:gd name="connsiteX7" fmla="*/ 371509 w 372782"/>
                    <a:gd name="connsiteY7" fmla="*/ 36993 h 242827"/>
                    <a:gd name="connsiteX8" fmla="*/ 221680 w 372782"/>
                    <a:gd name="connsiteY8" fmla="*/ 221492 h 242827"/>
                    <a:gd name="connsiteX9" fmla="*/ 127193 w 372782"/>
                    <a:gd name="connsiteY9" fmla="*/ 242828 h 24282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372782" h="242827">
                      <a:moveTo>
                        <a:pt x="127193" y="242828"/>
                      </a:moveTo>
                      <a:cubicBezTo>
                        <a:pt x="92521" y="242828"/>
                        <a:pt x="56041" y="235208"/>
                        <a:pt x="17941" y="219873"/>
                      </a:cubicBezTo>
                      <a:cubicBezTo>
                        <a:pt x="3272" y="213967"/>
                        <a:pt x="-3776" y="197394"/>
                        <a:pt x="2034" y="182725"/>
                      </a:cubicBezTo>
                      <a:cubicBezTo>
                        <a:pt x="7940" y="168056"/>
                        <a:pt x="24608" y="161008"/>
                        <a:pt x="39182" y="166818"/>
                      </a:cubicBezTo>
                      <a:cubicBezTo>
                        <a:pt x="98522" y="190631"/>
                        <a:pt x="151672" y="191679"/>
                        <a:pt x="197011" y="169962"/>
                      </a:cubicBezTo>
                      <a:cubicBezTo>
                        <a:pt x="282736" y="129004"/>
                        <a:pt x="316454" y="21372"/>
                        <a:pt x="316835" y="20229"/>
                      </a:cubicBezTo>
                      <a:cubicBezTo>
                        <a:pt x="321407" y="5179"/>
                        <a:pt x="337409" y="-3394"/>
                        <a:pt x="352554" y="1274"/>
                      </a:cubicBezTo>
                      <a:cubicBezTo>
                        <a:pt x="367604" y="5846"/>
                        <a:pt x="376176" y="21848"/>
                        <a:pt x="371509" y="36993"/>
                      </a:cubicBezTo>
                      <a:cubicBezTo>
                        <a:pt x="369890" y="42422"/>
                        <a:pt x="329789" y="169866"/>
                        <a:pt x="221680" y="221492"/>
                      </a:cubicBezTo>
                      <a:cubicBezTo>
                        <a:pt x="192058" y="235779"/>
                        <a:pt x="160435" y="242828"/>
                        <a:pt x="127193" y="242828"/>
                      </a:cubicBezTo>
                      <a:close/>
                    </a:path>
                  </a:pathLst>
                </a:custGeom>
                <a:solidFill>
                  <a:srgbClr val="883827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 sz="1800"/>
                </a:p>
              </p:txBody>
            </p:sp>
          </p:grpSp>
          <p:sp>
            <p:nvSpPr>
              <p:cNvPr id="93" name="íṣļïďe">
                <a:extLst>
                  <a:ext uri="{FF2B5EF4-FFF2-40B4-BE49-F238E27FC236}">
                    <a16:creationId xmlns:a16="http://schemas.microsoft.com/office/drawing/2014/main" id="{F3C722CD-1103-4888-BD64-1C0E15D6515B}"/>
                  </a:ext>
                </a:extLst>
              </p:cNvPr>
              <p:cNvSpPr/>
              <p:nvPr/>
            </p:nvSpPr>
            <p:spPr>
              <a:xfrm>
                <a:off x="5228557" y="1213104"/>
                <a:ext cx="1949576" cy="1949576"/>
              </a:xfrm>
              <a:custGeom>
                <a:avLst/>
                <a:gdLst>
                  <a:gd name="connsiteX0" fmla="*/ 1949577 w 1949576"/>
                  <a:gd name="connsiteY0" fmla="*/ 974788 h 1949576"/>
                  <a:gd name="connsiteX1" fmla="*/ 974788 w 1949576"/>
                  <a:gd name="connsiteY1" fmla="*/ 1949577 h 1949576"/>
                  <a:gd name="connsiteX2" fmla="*/ 0 w 1949576"/>
                  <a:gd name="connsiteY2" fmla="*/ 974788 h 1949576"/>
                  <a:gd name="connsiteX3" fmla="*/ 974788 w 1949576"/>
                  <a:gd name="connsiteY3" fmla="*/ 0 h 1949576"/>
                  <a:gd name="connsiteX4" fmla="*/ 1949577 w 1949576"/>
                  <a:gd name="connsiteY4" fmla="*/ 974788 h 19495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949576" h="1949576">
                    <a:moveTo>
                      <a:pt x="1949577" y="974788"/>
                    </a:moveTo>
                    <a:cubicBezTo>
                      <a:pt x="1949577" y="1513142"/>
                      <a:pt x="1513142" y="1949577"/>
                      <a:pt x="974788" y="1949577"/>
                    </a:cubicBezTo>
                    <a:cubicBezTo>
                      <a:pt x="436436" y="1949577"/>
                      <a:pt x="0" y="1513142"/>
                      <a:pt x="0" y="974788"/>
                    </a:cubicBezTo>
                    <a:cubicBezTo>
                      <a:pt x="0" y="436436"/>
                      <a:pt x="436436" y="0"/>
                      <a:pt x="974788" y="0"/>
                    </a:cubicBezTo>
                    <a:cubicBezTo>
                      <a:pt x="1513142" y="0"/>
                      <a:pt x="1949577" y="436436"/>
                      <a:pt x="1949577" y="974788"/>
                    </a:cubicBezTo>
                    <a:close/>
                  </a:path>
                </a:pathLst>
              </a:custGeom>
              <a:solidFill>
                <a:srgbClr val="AA5535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 sz="1800"/>
              </a:p>
            </p:txBody>
          </p:sp>
          <p:sp>
            <p:nvSpPr>
              <p:cNvPr id="94" name="íŝ1îḋe">
                <a:extLst>
                  <a:ext uri="{FF2B5EF4-FFF2-40B4-BE49-F238E27FC236}">
                    <a16:creationId xmlns:a16="http://schemas.microsoft.com/office/drawing/2014/main" id="{A9CD8AA5-3BC8-4895-A0E4-5D95B96C2AD7}"/>
                  </a:ext>
                </a:extLst>
              </p:cNvPr>
              <p:cNvSpPr/>
              <p:nvPr/>
            </p:nvSpPr>
            <p:spPr>
              <a:xfrm>
                <a:off x="5743955" y="1427416"/>
                <a:ext cx="196786" cy="196786"/>
              </a:xfrm>
              <a:custGeom>
                <a:avLst/>
                <a:gdLst>
                  <a:gd name="connsiteX0" fmla="*/ 196787 w 196786"/>
                  <a:gd name="connsiteY0" fmla="*/ 98393 h 196786"/>
                  <a:gd name="connsiteX1" fmla="*/ 98393 w 196786"/>
                  <a:gd name="connsiteY1" fmla="*/ 196786 h 196786"/>
                  <a:gd name="connsiteX2" fmla="*/ 0 w 196786"/>
                  <a:gd name="connsiteY2" fmla="*/ 98393 h 196786"/>
                  <a:gd name="connsiteX3" fmla="*/ 98393 w 196786"/>
                  <a:gd name="connsiteY3" fmla="*/ 0 h 196786"/>
                  <a:gd name="connsiteX4" fmla="*/ 196787 w 196786"/>
                  <a:gd name="connsiteY4" fmla="*/ 98393 h 1967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96786" h="196786">
                    <a:moveTo>
                      <a:pt x="196787" y="98393"/>
                    </a:moveTo>
                    <a:cubicBezTo>
                      <a:pt x="196787" y="152781"/>
                      <a:pt x="152686" y="196786"/>
                      <a:pt x="98393" y="196786"/>
                    </a:cubicBezTo>
                    <a:cubicBezTo>
                      <a:pt x="44005" y="196786"/>
                      <a:pt x="0" y="152686"/>
                      <a:pt x="0" y="98393"/>
                    </a:cubicBezTo>
                    <a:cubicBezTo>
                      <a:pt x="0" y="44006"/>
                      <a:pt x="44101" y="0"/>
                      <a:pt x="98393" y="0"/>
                    </a:cubicBezTo>
                    <a:cubicBezTo>
                      <a:pt x="152686" y="0"/>
                      <a:pt x="196787" y="44101"/>
                      <a:pt x="196787" y="98393"/>
                    </a:cubicBezTo>
                    <a:close/>
                  </a:path>
                </a:pathLst>
              </a:custGeom>
              <a:solidFill>
                <a:srgbClr val="7A2A2A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 sz="1800"/>
              </a:p>
            </p:txBody>
          </p:sp>
          <p:sp>
            <p:nvSpPr>
              <p:cNvPr id="95" name="ïślíďè">
                <a:extLst>
                  <a:ext uri="{FF2B5EF4-FFF2-40B4-BE49-F238E27FC236}">
                    <a16:creationId xmlns:a16="http://schemas.microsoft.com/office/drawing/2014/main" id="{EC008159-E471-47C2-B87F-B5933C3F1F70}"/>
                  </a:ext>
                </a:extLst>
              </p:cNvPr>
              <p:cNvSpPr/>
              <p:nvPr/>
            </p:nvSpPr>
            <p:spPr>
              <a:xfrm rot="-1350026">
                <a:off x="6452026" y="1427346"/>
                <a:ext cx="196791" cy="196791"/>
              </a:xfrm>
              <a:custGeom>
                <a:avLst/>
                <a:gdLst>
                  <a:gd name="connsiteX0" fmla="*/ 196791 w 196791"/>
                  <a:gd name="connsiteY0" fmla="*/ 98396 h 196791"/>
                  <a:gd name="connsiteX1" fmla="*/ 98396 w 196791"/>
                  <a:gd name="connsiteY1" fmla="*/ 196792 h 196791"/>
                  <a:gd name="connsiteX2" fmla="*/ 0 w 196791"/>
                  <a:gd name="connsiteY2" fmla="*/ 98396 h 196791"/>
                  <a:gd name="connsiteX3" fmla="*/ 98396 w 196791"/>
                  <a:gd name="connsiteY3" fmla="*/ 0 h 196791"/>
                  <a:gd name="connsiteX4" fmla="*/ 196791 w 196791"/>
                  <a:gd name="connsiteY4" fmla="*/ 98396 h 1967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96791" h="196791">
                    <a:moveTo>
                      <a:pt x="196791" y="98396"/>
                    </a:moveTo>
                    <a:cubicBezTo>
                      <a:pt x="196791" y="152738"/>
                      <a:pt x="152738" y="196792"/>
                      <a:pt x="98396" y="196792"/>
                    </a:cubicBezTo>
                    <a:cubicBezTo>
                      <a:pt x="44053" y="196792"/>
                      <a:pt x="0" y="152738"/>
                      <a:pt x="0" y="98396"/>
                    </a:cubicBezTo>
                    <a:cubicBezTo>
                      <a:pt x="0" y="44053"/>
                      <a:pt x="44054" y="0"/>
                      <a:pt x="98396" y="0"/>
                    </a:cubicBezTo>
                    <a:cubicBezTo>
                      <a:pt x="152738" y="0"/>
                      <a:pt x="196791" y="44053"/>
                      <a:pt x="196791" y="98396"/>
                    </a:cubicBezTo>
                    <a:close/>
                  </a:path>
                </a:pathLst>
              </a:custGeom>
              <a:solidFill>
                <a:srgbClr val="7A2A2A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 sz="1800"/>
              </a:p>
            </p:txBody>
          </p:sp>
          <p:sp>
            <p:nvSpPr>
              <p:cNvPr id="96" name="ïṣḷîḓé">
                <a:extLst>
                  <a:ext uri="{FF2B5EF4-FFF2-40B4-BE49-F238E27FC236}">
                    <a16:creationId xmlns:a16="http://schemas.microsoft.com/office/drawing/2014/main" id="{39302FE8-433C-45FC-8849-946F6854A525}"/>
                  </a:ext>
                </a:extLst>
              </p:cNvPr>
              <p:cNvSpPr/>
              <p:nvPr/>
            </p:nvSpPr>
            <p:spPr>
              <a:xfrm>
                <a:off x="5864351" y="1652206"/>
                <a:ext cx="646557" cy="351853"/>
              </a:xfrm>
              <a:custGeom>
                <a:avLst/>
                <a:gdLst>
                  <a:gd name="connsiteX0" fmla="*/ 323279 w 646557"/>
                  <a:gd name="connsiteY0" fmla="*/ 351853 h 351853"/>
                  <a:gd name="connsiteX1" fmla="*/ 0 w 646557"/>
                  <a:gd name="connsiteY1" fmla="*/ 28575 h 351853"/>
                  <a:gd name="connsiteX2" fmla="*/ 28575 w 646557"/>
                  <a:gd name="connsiteY2" fmla="*/ 0 h 351853"/>
                  <a:gd name="connsiteX3" fmla="*/ 57150 w 646557"/>
                  <a:gd name="connsiteY3" fmla="*/ 28575 h 351853"/>
                  <a:gd name="connsiteX4" fmla="*/ 323279 w 646557"/>
                  <a:gd name="connsiteY4" fmla="*/ 294704 h 351853"/>
                  <a:gd name="connsiteX5" fmla="*/ 589407 w 646557"/>
                  <a:gd name="connsiteY5" fmla="*/ 28575 h 351853"/>
                  <a:gd name="connsiteX6" fmla="*/ 617982 w 646557"/>
                  <a:gd name="connsiteY6" fmla="*/ 0 h 351853"/>
                  <a:gd name="connsiteX7" fmla="*/ 646557 w 646557"/>
                  <a:gd name="connsiteY7" fmla="*/ 28575 h 351853"/>
                  <a:gd name="connsiteX8" fmla="*/ 323279 w 646557"/>
                  <a:gd name="connsiteY8" fmla="*/ 351853 h 3518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646557" h="351853">
                    <a:moveTo>
                      <a:pt x="323279" y="351853"/>
                    </a:moveTo>
                    <a:cubicBezTo>
                      <a:pt x="145066" y="351853"/>
                      <a:pt x="0" y="206883"/>
                      <a:pt x="0" y="28575"/>
                    </a:cubicBezTo>
                    <a:cubicBezTo>
                      <a:pt x="0" y="12764"/>
                      <a:pt x="12763" y="0"/>
                      <a:pt x="28575" y="0"/>
                    </a:cubicBezTo>
                    <a:cubicBezTo>
                      <a:pt x="44387" y="0"/>
                      <a:pt x="57150" y="12764"/>
                      <a:pt x="57150" y="28575"/>
                    </a:cubicBezTo>
                    <a:cubicBezTo>
                      <a:pt x="57150" y="175260"/>
                      <a:pt x="176498" y="294704"/>
                      <a:pt x="323279" y="294704"/>
                    </a:cubicBezTo>
                    <a:cubicBezTo>
                      <a:pt x="469963" y="294704"/>
                      <a:pt x="589407" y="175355"/>
                      <a:pt x="589407" y="28575"/>
                    </a:cubicBezTo>
                    <a:cubicBezTo>
                      <a:pt x="589407" y="12764"/>
                      <a:pt x="602171" y="0"/>
                      <a:pt x="617982" y="0"/>
                    </a:cubicBezTo>
                    <a:cubicBezTo>
                      <a:pt x="633794" y="0"/>
                      <a:pt x="646557" y="12764"/>
                      <a:pt x="646557" y="28575"/>
                    </a:cubicBezTo>
                    <a:cubicBezTo>
                      <a:pt x="646462" y="206883"/>
                      <a:pt x="501491" y="351853"/>
                      <a:pt x="323279" y="351853"/>
                    </a:cubicBezTo>
                    <a:close/>
                  </a:path>
                </a:pathLst>
              </a:custGeom>
              <a:solidFill>
                <a:srgbClr val="883827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 sz="1800"/>
              </a:p>
            </p:txBody>
          </p:sp>
          <p:sp>
            <p:nvSpPr>
              <p:cNvPr id="97" name="iṥḷïḍê">
                <a:extLst>
                  <a:ext uri="{FF2B5EF4-FFF2-40B4-BE49-F238E27FC236}">
                    <a16:creationId xmlns:a16="http://schemas.microsoft.com/office/drawing/2014/main" id="{AAE54EB2-C62B-42E6-9DB8-A1EDB67EF617}"/>
                  </a:ext>
                </a:extLst>
              </p:cNvPr>
              <p:cNvSpPr/>
              <p:nvPr/>
            </p:nvSpPr>
            <p:spPr>
              <a:xfrm>
                <a:off x="5045582" y="1600200"/>
                <a:ext cx="298513" cy="298513"/>
              </a:xfrm>
              <a:custGeom>
                <a:avLst/>
                <a:gdLst>
                  <a:gd name="connsiteX0" fmla="*/ 298513 w 298513"/>
                  <a:gd name="connsiteY0" fmla="*/ 149257 h 298513"/>
                  <a:gd name="connsiteX1" fmla="*/ 149257 w 298513"/>
                  <a:gd name="connsiteY1" fmla="*/ 298513 h 298513"/>
                  <a:gd name="connsiteX2" fmla="*/ 0 w 298513"/>
                  <a:gd name="connsiteY2" fmla="*/ 149257 h 298513"/>
                  <a:gd name="connsiteX3" fmla="*/ 149257 w 298513"/>
                  <a:gd name="connsiteY3" fmla="*/ 0 h 298513"/>
                  <a:gd name="connsiteX4" fmla="*/ 298513 w 298513"/>
                  <a:gd name="connsiteY4" fmla="*/ 149257 h 2985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98513" h="298513">
                    <a:moveTo>
                      <a:pt x="298513" y="149257"/>
                    </a:moveTo>
                    <a:cubicBezTo>
                      <a:pt x="298513" y="231648"/>
                      <a:pt x="231648" y="298513"/>
                      <a:pt x="149257" y="298513"/>
                    </a:cubicBezTo>
                    <a:cubicBezTo>
                      <a:pt x="66865" y="298513"/>
                      <a:pt x="0" y="231648"/>
                      <a:pt x="0" y="149257"/>
                    </a:cubicBezTo>
                    <a:cubicBezTo>
                      <a:pt x="0" y="66865"/>
                      <a:pt x="66865" y="0"/>
                      <a:pt x="149257" y="0"/>
                    </a:cubicBezTo>
                    <a:cubicBezTo>
                      <a:pt x="231648" y="0"/>
                      <a:pt x="298513" y="66865"/>
                      <a:pt x="298513" y="149257"/>
                    </a:cubicBezTo>
                    <a:close/>
                  </a:path>
                </a:pathLst>
              </a:custGeom>
              <a:solidFill>
                <a:srgbClr val="AA5535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 sz="1800"/>
              </a:p>
            </p:txBody>
          </p:sp>
          <p:sp>
            <p:nvSpPr>
              <p:cNvPr id="98" name="išľíḍe">
                <a:extLst>
                  <a:ext uri="{FF2B5EF4-FFF2-40B4-BE49-F238E27FC236}">
                    <a16:creationId xmlns:a16="http://schemas.microsoft.com/office/drawing/2014/main" id="{3EECA9E9-CC95-46F6-AEAD-F0C0175964AA}"/>
                  </a:ext>
                </a:extLst>
              </p:cNvPr>
              <p:cNvSpPr/>
              <p:nvPr/>
            </p:nvSpPr>
            <p:spPr>
              <a:xfrm>
                <a:off x="5954743" y="1567148"/>
                <a:ext cx="459009" cy="219075"/>
              </a:xfrm>
              <a:custGeom>
                <a:avLst/>
                <a:gdLst>
                  <a:gd name="connsiteX0" fmla="*/ 459009 w 459009"/>
                  <a:gd name="connsiteY0" fmla="*/ 109538 h 219075"/>
                  <a:gd name="connsiteX1" fmla="*/ 229552 w 459009"/>
                  <a:gd name="connsiteY1" fmla="*/ 219075 h 219075"/>
                  <a:gd name="connsiteX2" fmla="*/ 0 w 459009"/>
                  <a:gd name="connsiteY2" fmla="*/ 109538 h 219075"/>
                  <a:gd name="connsiteX3" fmla="*/ 229552 w 459009"/>
                  <a:gd name="connsiteY3" fmla="*/ 0 h 219075"/>
                  <a:gd name="connsiteX4" fmla="*/ 459009 w 459009"/>
                  <a:gd name="connsiteY4" fmla="*/ 109538 h 2190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59009" h="219075">
                    <a:moveTo>
                      <a:pt x="459009" y="109538"/>
                    </a:moveTo>
                    <a:cubicBezTo>
                      <a:pt x="459009" y="170021"/>
                      <a:pt x="356235" y="219075"/>
                      <a:pt x="229552" y="219075"/>
                    </a:cubicBezTo>
                    <a:cubicBezTo>
                      <a:pt x="102775" y="219075"/>
                      <a:pt x="0" y="170021"/>
                      <a:pt x="0" y="109538"/>
                    </a:cubicBezTo>
                    <a:cubicBezTo>
                      <a:pt x="0" y="49054"/>
                      <a:pt x="102775" y="0"/>
                      <a:pt x="229552" y="0"/>
                    </a:cubicBezTo>
                    <a:cubicBezTo>
                      <a:pt x="356235" y="0"/>
                      <a:pt x="459009" y="49054"/>
                      <a:pt x="459009" y="109538"/>
                    </a:cubicBezTo>
                    <a:close/>
                  </a:path>
                </a:pathLst>
              </a:custGeom>
              <a:solidFill>
                <a:srgbClr val="CD3D3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 sz="1800"/>
              </a:p>
            </p:txBody>
          </p:sp>
          <p:sp>
            <p:nvSpPr>
              <p:cNvPr id="99" name="ïṣḷïḑê">
                <a:extLst>
                  <a:ext uri="{FF2B5EF4-FFF2-40B4-BE49-F238E27FC236}">
                    <a16:creationId xmlns:a16="http://schemas.microsoft.com/office/drawing/2014/main" id="{E883EC6E-5E15-44FE-BFA0-2DCCD02DF689}"/>
                  </a:ext>
                </a:extLst>
              </p:cNvPr>
              <p:cNvSpPr/>
              <p:nvPr/>
            </p:nvSpPr>
            <p:spPr>
              <a:xfrm>
                <a:off x="6561581" y="1618297"/>
                <a:ext cx="218312" cy="218312"/>
              </a:xfrm>
              <a:custGeom>
                <a:avLst/>
                <a:gdLst>
                  <a:gd name="connsiteX0" fmla="*/ 218313 w 218312"/>
                  <a:gd name="connsiteY0" fmla="*/ 109156 h 218312"/>
                  <a:gd name="connsiteX1" fmla="*/ 109156 w 218312"/>
                  <a:gd name="connsiteY1" fmla="*/ 218313 h 218312"/>
                  <a:gd name="connsiteX2" fmla="*/ 0 w 218312"/>
                  <a:gd name="connsiteY2" fmla="*/ 109156 h 218312"/>
                  <a:gd name="connsiteX3" fmla="*/ 109156 w 218312"/>
                  <a:gd name="connsiteY3" fmla="*/ 0 h 218312"/>
                  <a:gd name="connsiteX4" fmla="*/ 218313 w 218312"/>
                  <a:gd name="connsiteY4" fmla="*/ 109156 h 2183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18312" h="218312">
                    <a:moveTo>
                      <a:pt x="218313" y="109156"/>
                    </a:moveTo>
                    <a:cubicBezTo>
                      <a:pt x="218313" y="169450"/>
                      <a:pt x="169450" y="218313"/>
                      <a:pt x="109156" y="218313"/>
                    </a:cubicBezTo>
                    <a:cubicBezTo>
                      <a:pt x="48863" y="218313"/>
                      <a:pt x="0" y="169450"/>
                      <a:pt x="0" y="109156"/>
                    </a:cubicBezTo>
                    <a:cubicBezTo>
                      <a:pt x="0" y="48863"/>
                      <a:pt x="48863" y="0"/>
                      <a:pt x="109156" y="0"/>
                    </a:cubicBezTo>
                    <a:cubicBezTo>
                      <a:pt x="169450" y="0"/>
                      <a:pt x="218313" y="48863"/>
                      <a:pt x="218313" y="109156"/>
                    </a:cubicBezTo>
                    <a:close/>
                  </a:path>
                </a:pathLst>
              </a:custGeom>
              <a:solidFill>
                <a:srgbClr val="F5898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 sz="1800"/>
              </a:p>
            </p:txBody>
          </p:sp>
          <p:sp>
            <p:nvSpPr>
              <p:cNvPr id="100" name="îṧľíḑê">
                <a:extLst>
                  <a:ext uri="{FF2B5EF4-FFF2-40B4-BE49-F238E27FC236}">
                    <a16:creationId xmlns:a16="http://schemas.microsoft.com/office/drawing/2014/main" id="{3429075F-F2CD-4C77-ABBB-C9EC4D3B5F46}"/>
                  </a:ext>
                </a:extLst>
              </p:cNvPr>
              <p:cNvSpPr/>
              <p:nvPr/>
            </p:nvSpPr>
            <p:spPr>
              <a:xfrm>
                <a:off x="5575648" y="1618297"/>
                <a:ext cx="218313" cy="218312"/>
              </a:xfrm>
              <a:custGeom>
                <a:avLst/>
                <a:gdLst>
                  <a:gd name="connsiteX0" fmla="*/ 218313 w 218313"/>
                  <a:gd name="connsiteY0" fmla="*/ 109156 h 218312"/>
                  <a:gd name="connsiteX1" fmla="*/ 109156 w 218313"/>
                  <a:gd name="connsiteY1" fmla="*/ 218313 h 218312"/>
                  <a:gd name="connsiteX2" fmla="*/ 0 w 218313"/>
                  <a:gd name="connsiteY2" fmla="*/ 109156 h 218312"/>
                  <a:gd name="connsiteX3" fmla="*/ 109156 w 218313"/>
                  <a:gd name="connsiteY3" fmla="*/ 0 h 218312"/>
                  <a:gd name="connsiteX4" fmla="*/ 218313 w 218313"/>
                  <a:gd name="connsiteY4" fmla="*/ 109156 h 2183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18313" h="218312">
                    <a:moveTo>
                      <a:pt x="218313" y="109156"/>
                    </a:moveTo>
                    <a:cubicBezTo>
                      <a:pt x="218313" y="169450"/>
                      <a:pt x="169450" y="218313"/>
                      <a:pt x="109156" y="218313"/>
                    </a:cubicBezTo>
                    <a:cubicBezTo>
                      <a:pt x="48863" y="218313"/>
                      <a:pt x="0" y="169450"/>
                      <a:pt x="0" y="109156"/>
                    </a:cubicBezTo>
                    <a:cubicBezTo>
                      <a:pt x="0" y="48863"/>
                      <a:pt x="48863" y="0"/>
                      <a:pt x="109156" y="0"/>
                    </a:cubicBezTo>
                    <a:cubicBezTo>
                      <a:pt x="169450" y="0"/>
                      <a:pt x="218313" y="48863"/>
                      <a:pt x="218313" y="109156"/>
                    </a:cubicBezTo>
                    <a:close/>
                  </a:path>
                </a:pathLst>
              </a:custGeom>
              <a:solidFill>
                <a:srgbClr val="F5898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 sz="1800"/>
              </a:p>
            </p:txBody>
          </p:sp>
          <p:sp>
            <p:nvSpPr>
              <p:cNvPr id="101" name="îsļîḋê">
                <a:extLst>
                  <a:ext uri="{FF2B5EF4-FFF2-40B4-BE49-F238E27FC236}">
                    <a16:creationId xmlns:a16="http://schemas.microsoft.com/office/drawing/2014/main" id="{D55A1F2D-EBC0-4D6F-8B51-ED4D3EE59E90}"/>
                  </a:ext>
                </a:extLst>
              </p:cNvPr>
              <p:cNvSpPr/>
              <p:nvPr/>
            </p:nvSpPr>
            <p:spPr>
              <a:xfrm>
                <a:off x="5684805" y="2518219"/>
                <a:ext cx="1037082" cy="644366"/>
              </a:xfrm>
              <a:custGeom>
                <a:avLst/>
                <a:gdLst>
                  <a:gd name="connsiteX0" fmla="*/ 518541 w 1037082"/>
                  <a:gd name="connsiteY0" fmla="*/ 0 h 644366"/>
                  <a:gd name="connsiteX1" fmla="*/ 0 w 1037082"/>
                  <a:gd name="connsiteY1" fmla="*/ 495109 h 644366"/>
                  <a:gd name="connsiteX2" fmla="*/ 518541 w 1037082"/>
                  <a:gd name="connsiteY2" fmla="*/ 644366 h 644366"/>
                  <a:gd name="connsiteX3" fmla="*/ 1037082 w 1037082"/>
                  <a:gd name="connsiteY3" fmla="*/ 495109 h 644366"/>
                  <a:gd name="connsiteX4" fmla="*/ 518541 w 1037082"/>
                  <a:gd name="connsiteY4" fmla="*/ 0 h 6443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037082" h="644366">
                    <a:moveTo>
                      <a:pt x="518541" y="0"/>
                    </a:moveTo>
                    <a:cubicBezTo>
                      <a:pt x="239935" y="0"/>
                      <a:pt x="12573" y="219551"/>
                      <a:pt x="0" y="495109"/>
                    </a:cubicBezTo>
                    <a:cubicBezTo>
                      <a:pt x="150209" y="589693"/>
                      <a:pt x="327946" y="644366"/>
                      <a:pt x="518541" y="644366"/>
                    </a:cubicBezTo>
                    <a:cubicBezTo>
                      <a:pt x="709136" y="644366"/>
                      <a:pt x="886873" y="589597"/>
                      <a:pt x="1037082" y="495109"/>
                    </a:cubicBezTo>
                    <a:cubicBezTo>
                      <a:pt x="1024414" y="219551"/>
                      <a:pt x="797147" y="0"/>
                      <a:pt x="518541" y="0"/>
                    </a:cubicBezTo>
                    <a:close/>
                  </a:path>
                </a:pathLst>
              </a:custGeom>
              <a:solidFill>
                <a:srgbClr val="D19163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 sz="1800"/>
              </a:p>
            </p:txBody>
          </p:sp>
          <p:sp>
            <p:nvSpPr>
              <p:cNvPr id="102" name="íṣḷiḓè">
                <a:extLst>
                  <a:ext uri="{FF2B5EF4-FFF2-40B4-BE49-F238E27FC236}">
                    <a16:creationId xmlns:a16="http://schemas.microsoft.com/office/drawing/2014/main" id="{6098B5F7-E267-464B-B017-293ED01F3317}"/>
                  </a:ext>
                </a:extLst>
              </p:cNvPr>
              <p:cNvSpPr/>
              <p:nvPr/>
            </p:nvSpPr>
            <p:spPr>
              <a:xfrm>
                <a:off x="6225348" y="1610201"/>
                <a:ext cx="51054" cy="51054"/>
              </a:xfrm>
              <a:custGeom>
                <a:avLst/>
                <a:gdLst>
                  <a:gd name="connsiteX0" fmla="*/ 51054 w 51054"/>
                  <a:gd name="connsiteY0" fmla="*/ 25527 h 51054"/>
                  <a:gd name="connsiteX1" fmla="*/ 25527 w 51054"/>
                  <a:gd name="connsiteY1" fmla="*/ 51054 h 51054"/>
                  <a:gd name="connsiteX2" fmla="*/ 0 w 51054"/>
                  <a:gd name="connsiteY2" fmla="*/ 25527 h 51054"/>
                  <a:gd name="connsiteX3" fmla="*/ 25527 w 51054"/>
                  <a:gd name="connsiteY3" fmla="*/ 0 h 51054"/>
                  <a:gd name="connsiteX4" fmla="*/ 51054 w 51054"/>
                  <a:gd name="connsiteY4" fmla="*/ 25527 h 510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1054" h="51054">
                    <a:moveTo>
                      <a:pt x="51054" y="25527"/>
                    </a:moveTo>
                    <a:cubicBezTo>
                      <a:pt x="51054" y="39624"/>
                      <a:pt x="39624" y="51054"/>
                      <a:pt x="25527" y="51054"/>
                    </a:cubicBezTo>
                    <a:cubicBezTo>
                      <a:pt x="11430" y="51054"/>
                      <a:pt x="0" y="39624"/>
                      <a:pt x="0" y="25527"/>
                    </a:cubicBezTo>
                    <a:cubicBezTo>
                      <a:pt x="0" y="11430"/>
                      <a:pt x="11430" y="0"/>
                      <a:pt x="25527" y="0"/>
                    </a:cubicBezTo>
                    <a:cubicBezTo>
                      <a:pt x="39624" y="0"/>
                      <a:pt x="51054" y="11430"/>
                      <a:pt x="51054" y="25527"/>
                    </a:cubicBezTo>
                    <a:close/>
                  </a:path>
                </a:pathLst>
              </a:custGeom>
              <a:solidFill>
                <a:srgbClr val="F2EED7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 sz="1800"/>
              </a:p>
            </p:txBody>
          </p:sp>
          <p:sp>
            <p:nvSpPr>
              <p:cNvPr id="103" name="iṩliḓè">
                <a:extLst>
                  <a:ext uri="{FF2B5EF4-FFF2-40B4-BE49-F238E27FC236}">
                    <a16:creationId xmlns:a16="http://schemas.microsoft.com/office/drawing/2014/main" id="{7DF71FBC-B5D8-4DB3-A552-EF279B22BC18}"/>
                  </a:ext>
                </a:extLst>
              </p:cNvPr>
              <p:cNvSpPr/>
              <p:nvPr/>
            </p:nvSpPr>
            <p:spPr>
              <a:xfrm>
                <a:off x="5965182" y="1610201"/>
                <a:ext cx="421329" cy="166577"/>
              </a:xfrm>
              <a:custGeom>
                <a:avLst/>
                <a:gdLst>
                  <a:gd name="connsiteX0" fmla="*/ 421329 w 421329"/>
                  <a:gd name="connsiteY0" fmla="*/ 92678 h 166577"/>
                  <a:gd name="connsiteX1" fmla="*/ 47949 w 421329"/>
                  <a:gd name="connsiteY1" fmla="*/ 0 h 166577"/>
                  <a:gd name="connsiteX2" fmla="*/ 2325 w 421329"/>
                  <a:gd name="connsiteY2" fmla="*/ 85915 h 166577"/>
                  <a:gd name="connsiteX3" fmla="*/ 421329 w 421329"/>
                  <a:gd name="connsiteY3" fmla="*/ 92678 h 1665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21329" h="166577">
                    <a:moveTo>
                      <a:pt x="421329" y="92678"/>
                    </a:moveTo>
                    <a:cubicBezTo>
                      <a:pt x="421329" y="92678"/>
                      <a:pt x="174251" y="202787"/>
                      <a:pt x="47949" y="0"/>
                    </a:cubicBezTo>
                    <a:cubicBezTo>
                      <a:pt x="47949" y="0"/>
                      <a:pt x="-12439" y="41624"/>
                      <a:pt x="2325" y="85915"/>
                    </a:cubicBezTo>
                    <a:cubicBezTo>
                      <a:pt x="17088" y="130302"/>
                      <a:pt x="270930" y="239077"/>
                      <a:pt x="421329" y="92678"/>
                    </a:cubicBezTo>
                    <a:close/>
                  </a:path>
                </a:pathLst>
              </a:custGeom>
              <a:solidFill>
                <a:srgbClr val="B53A3C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 sz="1800"/>
              </a:p>
            </p:txBody>
          </p:sp>
          <p:sp>
            <p:nvSpPr>
              <p:cNvPr id="104" name="îṩḷiḑè">
                <a:extLst>
                  <a:ext uri="{FF2B5EF4-FFF2-40B4-BE49-F238E27FC236}">
                    <a16:creationId xmlns:a16="http://schemas.microsoft.com/office/drawing/2014/main" id="{7887EDAB-ED3F-4783-98FA-19AF9B54DF3B}"/>
                  </a:ext>
                </a:extLst>
              </p:cNvPr>
              <p:cNvSpPr/>
              <p:nvPr/>
            </p:nvSpPr>
            <p:spPr>
              <a:xfrm>
                <a:off x="5138355" y="1690020"/>
                <a:ext cx="162687" cy="162687"/>
              </a:xfrm>
              <a:custGeom>
                <a:avLst/>
                <a:gdLst>
                  <a:gd name="connsiteX0" fmla="*/ 162687 w 162687"/>
                  <a:gd name="connsiteY0" fmla="*/ 81344 h 162687"/>
                  <a:gd name="connsiteX1" fmla="*/ 81344 w 162687"/>
                  <a:gd name="connsiteY1" fmla="*/ 162687 h 162687"/>
                  <a:gd name="connsiteX2" fmla="*/ 0 w 162687"/>
                  <a:gd name="connsiteY2" fmla="*/ 81344 h 162687"/>
                  <a:gd name="connsiteX3" fmla="*/ 81344 w 162687"/>
                  <a:gd name="connsiteY3" fmla="*/ 0 h 162687"/>
                  <a:gd name="connsiteX4" fmla="*/ 162687 w 162687"/>
                  <a:gd name="connsiteY4" fmla="*/ 81344 h 1626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2687" h="162687">
                    <a:moveTo>
                      <a:pt x="162687" y="81344"/>
                    </a:moveTo>
                    <a:cubicBezTo>
                      <a:pt x="162687" y="126302"/>
                      <a:pt x="126302" y="162687"/>
                      <a:pt x="81344" y="162687"/>
                    </a:cubicBezTo>
                    <a:cubicBezTo>
                      <a:pt x="36386" y="162687"/>
                      <a:pt x="0" y="126302"/>
                      <a:pt x="0" y="81344"/>
                    </a:cubicBezTo>
                    <a:cubicBezTo>
                      <a:pt x="0" y="36386"/>
                      <a:pt x="36481" y="0"/>
                      <a:pt x="81344" y="0"/>
                    </a:cubicBezTo>
                    <a:cubicBezTo>
                      <a:pt x="126206" y="-95"/>
                      <a:pt x="162687" y="36386"/>
                      <a:pt x="162687" y="81344"/>
                    </a:cubicBezTo>
                    <a:close/>
                  </a:path>
                </a:pathLst>
              </a:custGeom>
              <a:solidFill>
                <a:srgbClr val="F5898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 sz="1800"/>
              </a:p>
            </p:txBody>
          </p:sp>
          <p:sp>
            <p:nvSpPr>
              <p:cNvPr id="105" name="íšḻiďe">
                <a:extLst>
                  <a:ext uri="{FF2B5EF4-FFF2-40B4-BE49-F238E27FC236}">
                    <a16:creationId xmlns:a16="http://schemas.microsoft.com/office/drawing/2014/main" id="{A776A129-9BA3-464B-B541-0FF9F41F2E3B}"/>
                  </a:ext>
                </a:extLst>
              </p:cNvPr>
              <p:cNvSpPr/>
              <p:nvPr/>
            </p:nvSpPr>
            <p:spPr>
              <a:xfrm>
                <a:off x="7038403" y="1600200"/>
                <a:ext cx="298513" cy="298513"/>
              </a:xfrm>
              <a:custGeom>
                <a:avLst/>
                <a:gdLst>
                  <a:gd name="connsiteX0" fmla="*/ 0 w 298513"/>
                  <a:gd name="connsiteY0" fmla="*/ 149257 h 298513"/>
                  <a:gd name="connsiteX1" fmla="*/ 149257 w 298513"/>
                  <a:gd name="connsiteY1" fmla="*/ 298513 h 298513"/>
                  <a:gd name="connsiteX2" fmla="*/ 298513 w 298513"/>
                  <a:gd name="connsiteY2" fmla="*/ 149257 h 298513"/>
                  <a:gd name="connsiteX3" fmla="*/ 149257 w 298513"/>
                  <a:gd name="connsiteY3" fmla="*/ 0 h 298513"/>
                  <a:gd name="connsiteX4" fmla="*/ 0 w 298513"/>
                  <a:gd name="connsiteY4" fmla="*/ 149257 h 2985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98513" h="298513">
                    <a:moveTo>
                      <a:pt x="0" y="149257"/>
                    </a:moveTo>
                    <a:cubicBezTo>
                      <a:pt x="0" y="231648"/>
                      <a:pt x="66865" y="298513"/>
                      <a:pt x="149257" y="298513"/>
                    </a:cubicBezTo>
                    <a:cubicBezTo>
                      <a:pt x="231648" y="298513"/>
                      <a:pt x="298513" y="231648"/>
                      <a:pt x="298513" y="149257"/>
                    </a:cubicBezTo>
                    <a:cubicBezTo>
                      <a:pt x="298513" y="66865"/>
                      <a:pt x="231648" y="0"/>
                      <a:pt x="149257" y="0"/>
                    </a:cubicBezTo>
                    <a:cubicBezTo>
                      <a:pt x="66770" y="0"/>
                      <a:pt x="0" y="66865"/>
                      <a:pt x="0" y="149257"/>
                    </a:cubicBezTo>
                    <a:close/>
                  </a:path>
                </a:pathLst>
              </a:custGeom>
              <a:solidFill>
                <a:srgbClr val="AA5535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 sz="1800"/>
              </a:p>
            </p:txBody>
          </p:sp>
          <p:sp>
            <p:nvSpPr>
              <p:cNvPr id="106" name="iṧ1iḋè">
                <a:extLst>
                  <a:ext uri="{FF2B5EF4-FFF2-40B4-BE49-F238E27FC236}">
                    <a16:creationId xmlns:a16="http://schemas.microsoft.com/office/drawing/2014/main" id="{509E161A-A381-40CD-9E1E-DA1A9D676413}"/>
                  </a:ext>
                </a:extLst>
              </p:cNvPr>
              <p:cNvSpPr/>
              <p:nvPr/>
            </p:nvSpPr>
            <p:spPr>
              <a:xfrm>
                <a:off x="7081455" y="1690020"/>
                <a:ext cx="162687" cy="162687"/>
              </a:xfrm>
              <a:custGeom>
                <a:avLst/>
                <a:gdLst>
                  <a:gd name="connsiteX0" fmla="*/ 0 w 162687"/>
                  <a:gd name="connsiteY0" fmla="*/ 81344 h 162687"/>
                  <a:gd name="connsiteX1" fmla="*/ 81344 w 162687"/>
                  <a:gd name="connsiteY1" fmla="*/ 162687 h 162687"/>
                  <a:gd name="connsiteX2" fmla="*/ 162687 w 162687"/>
                  <a:gd name="connsiteY2" fmla="*/ 81344 h 162687"/>
                  <a:gd name="connsiteX3" fmla="*/ 81344 w 162687"/>
                  <a:gd name="connsiteY3" fmla="*/ 0 h 162687"/>
                  <a:gd name="connsiteX4" fmla="*/ 0 w 162687"/>
                  <a:gd name="connsiteY4" fmla="*/ 81344 h 1626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2687" h="162687">
                    <a:moveTo>
                      <a:pt x="0" y="81344"/>
                    </a:moveTo>
                    <a:cubicBezTo>
                      <a:pt x="0" y="126302"/>
                      <a:pt x="36386" y="162687"/>
                      <a:pt x="81344" y="162687"/>
                    </a:cubicBezTo>
                    <a:cubicBezTo>
                      <a:pt x="126302" y="162687"/>
                      <a:pt x="162687" y="126302"/>
                      <a:pt x="162687" y="81344"/>
                    </a:cubicBezTo>
                    <a:cubicBezTo>
                      <a:pt x="162687" y="36386"/>
                      <a:pt x="126206" y="0"/>
                      <a:pt x="81344" y="0"/>
                    </a:cubicBezTo>
                    <a:cubicBezTo>
                      <a:pt x="36386" y="-95"/>
                      <a:pt x="0" y="36386"/>
                      <a:pt x="0" y="81344"/>
                    </a:cubicBezTo>
                    <a:close/>
                  </a:path>
                </a:pathLst>
              </a:custGeom>
              <a:solidFill>
                <a:srgbClr val="F5898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 sz="1800"/>
              </a:p>
            </p:txBody>
          </p:sp>
          <p:grpSp>
            <p:nvGrpSpPr>
              <p:cNvPr id="107" name="图形 5">
                <a:extLst>
                  <a:ext uri="{FF2B5EF4-FFF2-40B4-BE49-F238E27FC236}">
                    <a16:creationId xmlns:a16="http://schemas.microsoft.com/office/drawing/2014/main" id="{073A9B99-8C1F-4ECE-A8A4-B5BB13D8CB92}"/>
                  </a:ext>
                </a:extLst>
              </p:cNvPr>
              <p:cNvGrpSpPr/>
              <p:nvPr/>
            </p:nvGrpSpPr>
            <p:grpSpPr>
              <a:xfrm>
                <a:off x="6359842" y="1270635"/>
                <a:ext cx="753468" cy="1174813"/>
                <a:chOff x="6359842" y="1270635"/>
                <a:chExt cx="753468" cy="1174813"/>
              </a:xfrm>
              <a:solidFill>
                <a:srgbClr val="F2EED7">
                  <a:alpha val="50000"/>
                </a:srgbClr>
              </a:solidFill>
            </p:grpSpPr>
            <p:sp>
              <p:nvSpPr>
                <p:cNvPr id="121" name="íṡḷîďê">
                  <a:extLst>
                    <a:ext uri="{FF2B5EF4-FFF2-40B4-BE49-F238E27FC236}">
                      <a16:creationId xmlns:a16="http://schemas.microsoft.com/office/drawing/2014/main" id="{FE762BFD-3D57-43B6-B2A4-E8ADEB1C955E}"/>
                    </a:ext>
                  </a:extLst>
                </p:cNvPr>
                <p:cNvSpPr/>
                <p:nvPr/>
              </p:nvSpPr>
              <p:spPr>
                <a:xfrm>
                  <a:off x="6498243" y="1318168"/>
                  <a:ext cx="615066" cy="1127280"/>
                </a:xfrm>
                <a:custGeom>
                  <a:avLst/>
                  <a:gdLst>
                    <a:gd name="connsiteX0" fmla="*/ 521205 w 615066"/>
                    <a:gd name="connsiteY0" fmla="*/ 1127280 h 1127280"/>
                    <a:gd name="connsiteX1" fmla="*/ 506346 w 615066"/>
                    <a:gd name="connsiteY1" fmla="*/ 1124613 h 1127280"/>
                    <a:gd name="connsiteX2" fmla="*/ 481009 w 615066"/>
                    <a:gd name="connsiteY2" fmla="*/ 1069559 h 1127280"/>
                    <a:gd name="connsiteX3" fmla="*/ 458816 w 615066"/>
                    <a:gd name="connsiteY3" fmla="*/ 482438 h 1127280"/>
                    <a:gd name="connsiteX4" fmla="*/ 28000 w 615066"/>
                    <a:gd name="connsiteY4" fmla="*/ 83055 h 1127280"/>
                    <a:gd name="connsiteX5" fmla="*/ 2664 w 615066"/>
                    <a:gd name="connsiteY5" fmla="*/ 28000 h 1127280"/>
                    <a:gd name="connsiteX6" fmla="*/ 57718 w 615066"/>
                    <a:gd name="connsiteY6" fmla="*/ 2663 h 1127280"/>
                    <a:gd name="connsiteX7" fmla="*/ 536730 w 615066"/>
                    <a:gd name="connsiteY7" fmla="*/ 446719 h 1127280"/>
                    <a:gd name="connsiteX8" fmla="*/ 561400 w 615066"/>
                    <a:gd name="connsiteY8" fmla="*/ 1099372 h 1127280"/>
                    <a:gd name="connsiteX9" fmla="*/ 521205 w 615066"/>
                    <a:gd name="connsiteY9" fmla="*/ 1127280 h 11272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615066" h="1127280">
                      <a:moveTo>
                        <a:pt x="521205" y="1127280"/>
                      </a:moveTo>
                      <a:cubicBezTo>
                        <a:pt x="516251" y="1127280"/>
                        <a:pt x="511203" y="1126423"/>
                        <a:pt x="506346" y="1124613"/>
                      </a:cubicBezTo>
                      <a:cubicBezTo>
                        <a:pt x="484152" y="1116422"/>
                        <a:pt x="472817" y="1091752"/>
                        <a:pt x="481009" y="1069559"/>
                      </a:cubicBezTo>
                      <a:cubicBezTo>
                        <a:pt x="552256" y="877249"/>
                        <a:pt x="544350" y="668747"/>
                        <a:pt x="458816" y="482438"/>
                      </a:cubicBezTo>
                      <a:cubicBezTo>
                        <a:pt x="373281" y="296129"/>
                        <a:pt x="220215" y="154206"/>
                        <a:pt x="28000" y="83055"/>
                      </a:cubicBezTo>
                      <a:cubicBezTo>
                        <a:pt x="5807" y="74863"/>
                        <a:pt x="-5528" y="50193"/>
                        <a:pt x="2664" y="28000"/>
                      </a:cubicBezTo>
                      <a:cubicBezTo>
                        <a:pt x="10855" y="5807"/>
                        <a:pt x="35525" y="-5528"/>
                        <a:pt x="57718" y="2663"/>
                      </a:cubicBezTo>
                      <a:cubicBezTo>
                        <a:pt x="271459" y="81816"/>
                        <a:pt x="441575" y="239550"/>
                        <a:pt x="536730" y="446719"/>
                      </a:cubicBezTo>
                      <a:cubicBezTo>
                        <a:pt x="631885" y="653888"/>
                        <a:pt x="640648" y="885631"/>
                        <a:pt x="561400" y="1099372"/>
                      </a:cubicBezTo>
                      <a:cubicBezTo>
                        <a:pt x="555018" y="1116612"/>
                        <a:pt x="538635" y="1127280"/>
                        <a:pt x="521205" y="1127280"/>
                      </a:cubicBezTo>
                      <a:close/>
                    </a:path>
                  </a:pathLst>
                </a:custGeom>
                <a:solidFill>
                  <a:srgbClr val="F2EED7">
                    <a:alpha val="50000"/>
                  </a:srgbClr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 sz="1800"/>
                </a:p>
              </p:txBody>
            </p:sp>
            <p:sp>
              <p:nvSpPr>
                <p:cNvPr id="122" name="íṧḻíḓe">
                  <a:extLst>
                    <a:ext uri="{FF2B5EF4-FFF2-40B4-BE49-F238E27FC236}">
                      <a16:creationId xmlns:a16="http://schemas.microsoft.com/office/drawing/2014/main" id="{83DE621E-ECDA-4ECD-A087-AED03C158B96}"/>
                    </a:ext>
                  </a:extLst>
                </p:cNvPr>
                <p:cNvSpPr/>
                <p:nvPr/>
              </p:nvSpPr>
              <p:spPr>
                <a:xfrm>
                  <a:off x="6359842" y="1270635"/>
                  <a:ext cx="99821" cy="99821"/>
                </a:xfrm>
                <a:custGeom>
                  <a:avLst/>
                  <a:gdLst>
                    <a:gd name="connsiteX0" fmla="*/ 99822 w 99821"/>
                    <a:gd name="connsiteY0" fmla="*/ 49911 h 99821"/>
                    <a:gd name="connsiteX1" fmla="*/ 49911 w 99821"/>
                    <a:gd name="connsiteY1" fmla="*/ 99822 h 99821"/>
                    <a:gd name="connsiteX2" fmla="*/ 0 w 99821"/>
                    <a:gd name="connsiteY2" fmla="*/ 49911 h 99821"/>
                    <a:gd name="connsiteX3" fmla="*/ 49911 w 99821"/>
                    <a:gd name="connsiteY3" fmla="*/ 0 h 99821"/>
                    <a:gd name="connsiteX4" fmla="*/ 99822 w 99821"/>
                    <a:gd name="connsiteY4" fmla="*/ 49911 h 9982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99821" h="99821">
                      <a:moveTo>
                        <a:pt x="99822" y="49911"/>
                      </a:moveTo>
                      <a:cubicBezTo>
                        <a:pt x="99822" y="77438"/>
                        <a:pt x="77438" y="99822"/>
                        <a:pt x="49911" y="99822"/>
                      </a:cubicBezTo>
                      <a:cubicBezTo>
                        <a:pt x="22384" y="99822"/>
                        <a:pt x="0" y="77438"/>
                        <a:pt x="0" y="49911"/>
                      </a:cubicBezTo>
                      <a:cubicBezTo>
                        <a:pt x="0" y="22384"/>
                        <a:pt x="22384" y="0"/>
                        <a:pt x="49911" y="0"/>
                      </a:cubicBezTo>
                      <a:cubicBezTo>
                        <a:pt x="77438" y="0"/>
                        <a:pt x="99822" y="22384"/>
                        <a:pt x="99822" y="49911"/>
                      </a:cubicBezTo>
                      <a:close/>
                    </a:path>
                  </a:pathLst>
                </a:custGeom>
                <a:solidFill>
                  <a:srgbClr val="F2EED7">
                    <a:alpha val="50000"/>
                  </a:srgbClr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 sz="1800"/>
                </a:p>
              </p:txBody>
            </p:sp>
          </p:grpSp>
          <p:sp>
            <p:nvSpPr>
              <p:cNvPr id="108" name="íṣ1iḑe">
                <a:extLst>
                  <a:ext uri="{FF2B5EF4-FFF2-40B4-BE49-F238E27FC236}">
                    <a16:creationId xmlns:a16="http://schemas.microsoft.com/office/drawing/2014/main" id="{50E1502C-91D5-439A-AD38-A91B1AE92084}"/>
                  </a:ext>
                </a:extLst>
              </p:cNvPr>
              <p:cNvSpPr/>
              <p:nvPr/>
            </p:nvSpPr>
            <p:spPr>
              <a:xfrm>
                <a:off x="5214365" y="2067687"/>
                <a:ext cx="1977770" cy="398049"/>
              </a:xfrm>
              <a:custGeom>
                <a:avLst/>
                <a:gdLst>
                  <a:gd name="connsiteX0" fmla="*/ 1976533 w 1977770"/>
                  <a:gd name="connsiteY0" fmla="*/ 0 h 398049"/>
                  <a:gd name="connsiteX1" fmla="*/ 1238 w 1977770"/>
                  <a:gd name="connsiteY1" fmla="*/ 0 h 398049"/>
                  <a:gd name="connsiteX2" fmla="*/ 0 w 1977770"/>
                  <a:gd name="connsiteY2" fmla="*/ 48577 h 398049"/>
                  <a:gd name="connsiteX3" fmla="*/ 65532 w 1977770"/>
                  <a:gd name="connsiteY3" fmla="*/ 398050 h 398049"/>
                  <a:gd name="connsiteX4" fmla="*/ 1912239 w 1977770"/>
                  <a:gd name="connsiteY4" fmla="*/ 398050 h 398049"/>
                  <a:gd name="connsiteX5" fmla="*/ 1977771 w 1977770"/>
                  <a:gd name="connsiteY5" fmla="*/ 48577 h 398049"/>
                  <a:gd name="connsiteX6" fmla="*/ 1976533 w 1977770"/>
                  <a:gd name="connsiteY6" fmla="*/ 0 h 3980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977770" h="398049">
                    <a:moveTo>
                      <a:pt x="1976533" y="0"/>
                    </a:moveTo>
                    <a:lnTo>
                      <a:pt x="1238" y="0"/>
                    </a:lnTo>
                    <a:cubicBezTo>
                      <a:pt x="476" y="16097"/>
                      <a:pt x="0" y="32290"/>
                      <a:pt x="0" y="48577"/>
                    </a:cubicBezTo>
                    <a:cubicBezTo>
                      <a:pt x="0" y="171736"/>
                      <a:pt x="23241" y="289560"/>
                      <a:pt x="65532" y="398050"/>
                    </a:cubicBezTo>
                    <a:lnTo>
                      <a:pt x="1912239" y="398050"/>
                    </a:lnTo>
                    <a:cubicBezTo>
                      <a:pt x="1954530" y="289560"/>
                      <a:pt x="1977771" y="171736"/>
                      <a:pt x="1977771" y="48577"/>
                    </a:cubicBezTo>
                    <a:cubicBezTo>
                      <a:pt x="1977676" y="32290"/>
                      <a:pt x="1977295" y="16097"/>
                      <a:pt x="1976533" y="0"/>
                    </a:cubicBezTo>
                    <a:close/>
                  </a:path>
                </a:pathLst>
              </a:custGeom>
              <a:solidFill>
                <a:srgbClr val="88A54A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 sz="1800"/>
              </a:p>
            </p:txBody>
          </p:sp>
          <p:sp>
            <p:nvSpPr>
              <p:cNvPr id="109" name="ïṡļidè">
                <a:extLst>
                  <a:ext uri="{FF2B5EF4-FFF2-40B4-BE49-F238E27FC236}">
                    <a16:creationId xmlns:a16="http://schemas.microsoft.com/office/drawing/2014/main" id="{539D7CE8-5748-4C8E-A8C4-A8FC7A9B14EC}"/>
                  </a:ext>
                </a:extLst>
              </p:cNvPr>
              <p:cNvSpPr/>
              <p:nvPr/>
            </p:nvSpPr>
            <p:spPr>
              <a:xfrm>
                <a:off x="6121050" y="2000916"/>
                <a:ext cx="549783" cy="919924"/>
              </a:xfrm>
              <a:custGeom>
                <a:avLst/>
                <a:gdLst>
                  <a:gd name="connsiteX0" fmla="*/ 549783 w 549783"/>
                  <a:gd name="connsiteY0" fmla="*/ 807720 h 919924"/>
                  <a:gd name="connsiteX1" fmla="*/ 361664 w 549783"/>
                  <a:gd name="connsiteY1" fmla="*/ 132778 h 919924"/>
                  <a:gd name="connsiteX2" fmla="*/ 331565 w 549783"/>
                  <a:gd name="connsiteY2" fmla="*/ 0 h 919924"/>
                  <a:gd name="connsiteX3" fmla="*/ 0 w 549783"/>
                  <a:gd name="connsiteY3" fmla="*/ 41434 h 919924"/>
                  <a:gd name="connsiteX4" fmla="*/ 118586 w 549783"/>
                  <a:gd name="connsiteY4" fmla="*/ 919924 h 9199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49783" h="919924">
                    <a:moveTo>
                      <a:pt x="549783" y="807720"/>
                    </a:moveTo>
                    <a:lnTo>
                      <a:pt x="361664" y="132778"/>
                    </a:lnTo>
                    <a:lnTo>
                      <a:pt x="331565" y="0"/>
                    </a:lnTo>
                    <a:lnTo>
                      <a:pt x="0" y="41434"/>
                    </a:lnTo>
                    <a:lnTo>
                      <a:pt x="118586" y="919924"/>
                    </a:lnTo>
                    <a:close/>
                  </a:path>
                </a:pathLst>
              </a:custGeom>
              <a:solidFill>
                <a:srgbClr val="88A54A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 sz="1800"/>
              </a:p>
            </p:txBody>
          </p:sp>
          <p:sp>
            <p:nvSpPr>
              <p:cNvPr id="110" name="ïṩḷïdê">
                <a:extLst>
                  <a:ext uri="{FF2B5EF4-FFF2-40B4-BE49-F238E27FC236}">
                    <a16:creationId xmlns:a16="http://schemas.microsoft.com/office/drawing/2014/main" id="{B660075A-8984-4884-8633-6FE92135775C}"/>
                  </a:ext>
                </a:extLst>
              </p:cNvPr>
              <p:cNvSpPr/>
              <p:nvPr/>
            </p:nvSpPr>
            <p:spPr>
              <a:xfrm>
                <a:off x="6109810" y="2404967"/>
                <a:ext cx="475773" cy="140493"/>
              </a:xfrm>
              <a:custGeom>
                <a:avLst/>
                <a:gdLst>
                  <a:gd name="connsiteX0" fmla="*/ 0 w 475773"/>
                  <a:gd name="connsiteY0" fmla="*/ 140494 h 140493"/>
                  <a:gd name="connsiteX1" fmla="*/ 475774 w 475773"/>
                  <a:gd name="connsiteY1" fmla="*/ 0 h 1404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5773" h="140493">
                    <a:moveTo>
                      <a:pt x="0" y="140494"/>
                    </a:moveTo>
                    <a:lnTo>
                      <a:pt x="475774" y="0"/>
                    </a:lnTo>
                  </a:path>
                </a:pathLst>
              </a:custGeom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 sz="1800"/>
              </a:p>
            </p:txBody>
          </p:sp>
          <p:sp>
            <p:nvSpPr>
              <p:cNvPr id="111" name="í$liḑè">
                <a:extLst>
                  <a:ext uri="{FF2B5EF4-FFF2-40B4-BE49-F238E27FC236}">
                    <a16:creationId xmlns:a16="http://schemas.microsoft.com/office/drawing/2014/main" id="{A4E50627-8F4A-46B2-B432-D48900D308A6}"/>
                  </a:ext>
                </a:extLst>
              </p:cNvPr>
              <p:cNvSpPr/>
              <p:nvPr/>
            </p:nvSpPr>
            <p:spPr>
              <a:xfrm>
                <a:off x="6175438" y="2581179"/>
                <a:ext cx="546925" cy="209550"/>
              </a:xfrm>
              <a:custGeom>
                <a:avLst/>
                <a:gdLst>
                  <a:gd name="connsiteX0" fmla="*/ 0 w 546925"/>
                  <a:gd name="connsiteY0" fmla="*/ 209550 h 209550"/>
                  <a:gd name="connsiteX1" fmla="*/ 546926 w 546925"/>
                  <a:gd name="connsiteY1" fmla="*/ 0 h 2095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46925" h="209550">
                    <a:moveTo>
                      <a:pt x="0" y="209550"/>
                    </a:moveTo>
                    <a:lnTo>
                      <a:pt x="546926" y="0"/>
                    </a:lnTo>
                  </a:path>
                </a:pathLst>
              </a:custGeom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 sz="1800"/>
              </a:p>
            </p:txBody>
          </p:sp>
          <p:sp>
            <p:nvSpPr>
              <p:cNvPr id="112" name="î$ļïďé">
                <a:extLst>
                  <a:ext uri="{FF2B5EF4-FFF2-40B4-BE49-F238E27FC236}">
                    <a16:creationId xmlns:a16="http://schemas.microsoft.com/office/drawing/2014/main" id="{2E4F97DB-B427-48BC-B39C-319C06C9BE47}"/>
                  </a:ext>
                </a:extLst>
              </p:cNvPr>
              <p:cNvSpPr/>
              <p:nvPr/>
            </p:nvSpPr>
            <p:spPr>
              <a:xfrm>
                <a:off x="6182486" y="2404967"/>
                <a:ext cx="439578" cy="368808"/>
              </a:xfrm>
              <a:custGeom>
                <a:avLst/>
                <a:gdLst>
                  <a:gd name="connsiteX0" fmla="*/ 375857 w 439578"/>
                  <a:gd name="connsiteY0" fmla="*/ 0 h 368808"/>
                  <a:gd name="connsiteX1" fmla="*/ 0 w 439578"/>
                  <a:gd name="connsiteY1" fmla="*/ 118015 h 368808"/>
                  <a:gd name="connsiteX2" fmla="*/ 33814 w 439578"/>
                  <a:gd name="connsiteY2" fmla="*/ 368808 h 368808"/>
                  <a:gd name="connsiteX3" fmla="*/ 439579 w 439578"/>
                  <a:gd name="connsiteY3" fmla="*/ 228600 h 3688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39578" h="368808">
                    <a:moveTo>
                      <a:pt x="375857" y="0"/>
                    </a:moveTo>
                    <a:lnTo>
                      <a:pt x="0" y="118015"/>
                    </a:lnTo>
                    <a:lnTo>
                      <a:pt x="33814" y="368808"/>
                    </a:lnTo>
                    <a:lnTo>
                      <a:pt x="439579" y="228600"/>
                    </a:lnTo>
                    <a:close/>
                  </a:path>
                </a:pathLst>
              </a:custGeom>
              <a:solidFill>
                <a:srgbClr val="637B36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 sz="1800"/>
              </a:p>
            </p:txBody>
          </p:sp>
          <p:sp>
            <p:nvSpPr>
              <p:cNvPr id="113" name="íSlïḑè">
                <a:extLst>
                  <a:ext uri="{FF2B5EF4-FFF2-40B4-BE49-F238E27FC236}">
                    <a16:creationId xmlns:a16="http://schemas.microsoft.com/office/drawing/2014/main" id="{342FE015-B896-4BCA-ADE0-6080C8C71DA1}"/>
                  </a:ext>
                </a:extLst>
              </p:cNvPr>
              <p:cNvSpPr/>
              <p:nvPr/>
            </p:nvSpPr>
            <p:spPr>
              <a:xfrm>
                <a:off x="5550312" y="2027777"/>
                <a:ext cx="573405" cy="894873"/>
              </a:xfrm>
              <a:custGeom>
                <a:avLst/>
                <a:gdLst>
                  <a:gd name="connsiteX0" fmla="*/ 205359 w 573405"/>
                  <a:gd name="connsiteY0" fmla="*/ 0 h 894873"/>
                  <a:gd name="connsiteX1" fmla="*/ 573405 w 573405"/>
                  <a:gd name="connsiteY1" fmla="*/ 20003 h 894873"/>
                  <a:gd name="connsiteX2" fmla="*/ 460248 w 573405"/>
                  <a:gd name="connsiteY2" fmla="*/ 894874 h 894873"/>
                  <a:gd name="connsiteX3" fmla="*/ 0 w 573405"/>
                  <a:gd name="connsiteY3" fmla="*/ 799814 h 8948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73405" h="894873">
                    <a:moveTo>
                      <a:pt x="205359" y="0"/>
                    </a:moveTo>
                    <a:lnTo>
                      <a:pt x="573405" y="20003"/>
                    </a:lnTo>
                    <a:lnTo>
                      <a:pt x="460248" y="894874"/>
                    </a:lnTo>
                    <a:lnTo>
                      <a:pt x="0" y="799814"/>
                    </a:lnTo>
                    <a:close/>
                  </a:path>
                </a:pathLst>
              </a:custGeom>
              <a:solidFill>
                <a:srgbClr val="88A54A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 sz="1800"/>
              </a:p>
            </p:txBody>
          </p:sp>
          <p:sp>
            <p:nvSpPr>
              <p:cNvPr id="114" name="ïSlïdê">
                <a:extLst>
                  <a:ext uri="{FF2B5EF4-FFF2-40B4-BE49-F238E27FC236}">
                    <a16:creationId xmlns:a16="http://schemas.microsoft.com/office/drawing/2014/main" id="{A6C41A94-6A97-42D7-AF16-91D73A61093E}"/>
                  </a:ext>
                </a:extLst>
              </p:cNvPr>
              <p:cNvSpPr/>
              <p:nvPr/>
            </p:nvSpPr>
            <p:spPr>
              <a:xfrm>
                <a:off x="6071044" y="2047779"/>
                <a:ext cx="104393" cy="417956"/>
              </a:xfrm>
              <a:custGeom>
                <a:avLst/>
                <a:gdLst>
                  <a:gd name="connsiteX0" fmla="*/ 104394 w 104393"/>
                  <a:gd name="connsiteY0" fmla="*/ 417957 h 417956"/>
                  <a:gd name="connsiteX1" fmla="*/ 52673 w 104393"/>
                  <a:gd name="connsiteY1" fmla="*/ 0 h 417956"/>
                  <a:gd name="connsiteX2" fmla="*/ 0 w 104393"/>
                  <a:gd name="connsiteY2" fmla="*/ 417957 h 4179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04393" h="417956">
                    <a:moveTo>
                      <a:pt x="104394" y="417957"/>
                    </a:moveTo>
                    <a:lnTo>
                      <a:pt x="52673" y="0"/>
                    </a:lnTo>
                    <a:lnTo>
                      <a:pt x="0" y="417957"/>
                    </a:lnTo>
                    <a:close/>
                  </a:path>
                </a:pathLst>
              </a:custGeom>
              <a:solidFill>
                <a:srgbClr val="637B36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 sz="1800"/>
              </a:p>
            </p:txBody>
          </p:sp>
          <p:sp>
            <p:nvSpPr>
              <p:cNvPr id="115" name="î$líḑè">
                <a:extLst>
                  <a:ext uri="{FF2B5EF4-FFF2-40B4-BE49-F238E27FC236}">
                    <a16:creationId xmlns:a16="http://schemas.microsoft.com/office/drawing/2014/main" id="{998DB904-CC92-4FA8-9C7E-B516B4BFD99C}"/>
                  </a:ext>
                </a:extLst>
              </p:cNvPr>
              <p:cNvSpPr/>
              <p:nvPr/>
            </p:nvSpPr>
            <p:spPr>
              <a:xfrm>
                <a:off x="5652134" y="2162651"/>
                <a:ext cx="457676" cy="347186"/>
              </a:xfrm>
              <a:custGeom>
                <a:avLst/>
                <a:gdLst>
                  <a:gd name="connsiteX0" fmla="*/ 457676 w 457676"/>
                  <a:gd name="connsiteY0" fmla="*/ 63532 h 347186"/>
                  <a:gd name="connsiteX1" fmla="*/ 68866 w 457676"/>
                  <a:gd name="connsiteY1" fmla="*/ 0 h 347186"/>
                  <a:gd name="connsiteX2" fmla="*/ 0 w 457676"/>
                  <a:gd name="connsiteY2" fmla="*/ 268414 h 347186"/>
                  <a:gd name="connsiteX3" fmla="*/ 411861 w 457676"/>
                  <a:gd name="connsiteY3" fmla="*/ 347186 h 3471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57676" h="347186">
                    <a:moveTo>
                      <a:pt x="457676" y="63532"/>
                    </a:moveTo>
                    <a:lnTo>
                      <a:pt x="68866" y="0"/>
                    </a:lnTo>
                    <a:lnTo>
                      <a:pt x="0" y="268414"/>
                    </a:lnTo>
                    <a:lnTo>
                      <a:pt x="411861" y="347186"/>
                    </a:lnTo>
                    <a:close/>
                  </a:path>
                </a:pathLst>
              </a:custGeom>
              <a:solidFill>
                <a:srgbClr val="637B36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 sz="1800"/>
              </a:p>
            </p:txBody>
          </p:sp>
          <p:sp>
            <p:nvSpPr>
              <p:cNvPr id="116" name="iṥḷïḋè">
                <a:extLst>
                  <a:ext uri="{FF2B5EF4-FFF2-40B4-BE49-F238E27FC236}">
                    <a16:creationId xmlns:a16="http://schemas.microsoft.com/office/drawing/2014/main" id="{8FBDB27F-A9E4-4D0F-A026-BF9DF5E6E8C2}"/>
                  </a:ext>
                </a:extLst>
              </p:cNvPr>
              <p:cNvSpPr/>
              <p:nvPr/>
            </p:nvSpPr>
            <p:spPr>
              <a:xfrm>
                <a:off x="5550312" y="2640806"/>
                <a:ext cx="488727" cy="281844"/>
              </a:xfrm>
              <a:custGeom>
                <a:avLst/>
                <a:gdLst>
                  <a:gd name="connsiteX0" fmla="*/ 488728 w 488727"/>
                  <a:gd name="connsiteY0" fmla="*/ 61436 h 281844"/>
                  <a:gd name="connsiteX1" fmla="*/ 47911 w 488727"/>
                  <a:gd name="connsiteY1" fmla="*/ 0 h 281844"/>
                  <a:gd name="connsiteX2" fmla="*/ 0 w 488727"/>
                  <a:gd name="connsiteY2" fmla="*/ 186785 h 281844"/>
                  <a:gd name="connsiteX3" fmla="*/ 460248 w 488727"/>
                  <a:gd name="connsiteY3" fmla="*/ 281845 h 281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88727" h="281844">
                    <a:moveTo>
                      <a:pt x="488728" y="61436"/>
                    </a:moveTo>
                    <a:lnTo>
                      <a:pt x="47911" y="0"/>
                    </a:lnTo>
                    <a:lnTo>
                      <a:pt x="0" y="186785"/>
                    </a:lnTo>
                    <a:lnTo>
                      <a:pt x="460248" y="281845"/>
                    </a:lnTo>
                    <a:close/>
                  </a:path>
                </a:pathLst>
              </a:custGeom>
              <a:solidFill>
                <a:srgbClr val="637B36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 sz="1800"/>
              </a:p>
            </p:txBody>
          </p:sp>
          <p:sp>
            <p:nvSpPr>
              <p:cNvPr id="117" name="ïṩ1ïḍè">
                <a:extLst>
                  <a:ext uri="{FF2B5EF4-FFF2-40B4-BE49-F238E27FC236}">
                    <a16:creationId xmlns:a16="http://schemas.microsoft.com/office/drawing/2014/main" id="{28B9A567-C61E-4621-8414-5A01188B0F5D}"/>
                  </a:ext>
                </a:extLst>
              </p:cNvPr>
              <p:cNvSpPr/>
              <p:nvPr/>
            </p:nvSpPr>
            <p:spPr>
              <a:xfrm>
                <a:off x="5210817" y="2067687"/>
                <a:ext cx="307109" cy="398049"/>
              </a:xfrm>
              <a:custGeom>
                <a:avLst/>
                <a:gdLst>
                  <a:gd name="connsiteX0" fmla="*/ 268438 w 307109"/>
                  <a:gd name="connsiteY0" fmla="*/ 0 h 398049"/>
                  <a:gd name="connsiteX1" fmla="*/ 307109 w 307109"/>
                  <a:gd name="connsiteY1" fmla="*/ 398050 h 398049"/>
                  <a:gd name="connsiteX2" fmla="*/ 69080 w 307109"/>
                  <a:gd name="connsiteY2" fmla="*/ 398050 h 398049"/>
                  <a:gd name="connsiteX3" fmla="*/ 4786 w 307109"/>
                  <a:gd name="connsiteY3" fmla="*/ 0 h 398049"/>
                  <a:gd name="connsiteX4" fmla="*/ 268438 w 307109"/>
                  <a:gd name="connsiteY4" fmla="*/ 0 h 3980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07109" h="398049">
                    <a:moveTo>
                      <a:pt x="268438" y="0"/>
                    </a:moveTo>
                    <a:lnTo>
                      <a:pt x="307109" y="398050"/>
                    </a:lnTo>
                    <a:lnTo>
                      <a:pt x="69080" y="398050"/>
                    </a:lnTo>
                    <a:cubicBezTo>
                      <a:pt x="69080" y="398050"/>
                      <a:pt x="-21503" y="220504"/>
                      <a:pt x="4786" y="0"/>
                    </a:cubicBezTo>
                    <a:lnTo>
                      <a:pt x="268438" y="0"/>
                    </a:lnTo>
                    <a:close/>
                  </a:path>
                </a:pathLst>
              </a:custGeom>
              <a:solidFill>
                <a:srgbClr val="637B36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 sz="1800"/>
              </a:p>
            </p:txBody>
          </p:sp>
          <p:sp>
            <p:nvSpPr>
              <p:cNvPr id="118" name="îşľïďe">
                <a:extLst>
                  <a:ext uri="{FF2B5EF4-FFF2-40B4-BE49-F238E27FC236}">
                    <a16:creationId xmlns:a16="http://schemas.microsoft.com/office/drawing/2014/main" id="{65701BF9-EFF5-4704-82C2-9E66C6C1B39A}"/>
                  </a:ext>
                </a:extLst>
              </p:cNvPr>
              <p:cNvSpPr/>
              <p:nvPr/>
            </p:nvSpPr>
            <p:spPr>
              <a:xfrm>
                <a:off x="6617397" y="2067687"/>
                <a:ext cx="301942" cy="398049"/>
              </a:xfrm>
              <a:custGeom>
                <a:avLst/>
                <a:gdLst>
                  <a:gd name="connsiteX0" fmla="*/ 0 w 301942"/>
                  <a:gd name="connsiteY0" fmla="*/ 0 h 398049"/>
                  <a:gd name="connsiteX1" fmla="*/ 0 w 301942"/>
                  <a:gd name="connsiteY1" fmla="*/ 398050 h 398049"/>
                  <a:gd name="connsiteX2" fmla="*/ 301943 w 301942"/>
                  <a:gd name="connsiteY2" fmla="*/ 398050 h 398049"/>
                  <a:gd name="connsiteX3" fmla="*/ 285274 w 301942"/>
                  <a:gd name="connsiteY3" fmla="*/ 0 h 3980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01942" h="398049">
                    <a:moveTo>
                      <a:pt x="0" y="0"/>
                    </a:moveTo>
                    <a:lnTo>
                      <a:pt x="0" y="398050"/>
                    </a:lnTo>
                    <a:lnTo>
                      <a:pt x="301943" y="398050"/>
                    </a:lnTo>
                    <a:lnTo>
                      <a:pt x="285274" y="0"/>
                    </a:lnTo>
                    <a:close/>
                  </a:path>
                </a:pathLst>
              </a:custGeom>
              <a:solidFill>
                <a:srgbClr val="637B36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 sz="1800"/>
              </a:p>
            </p:txBody>
          </p:sp>
          <p:sp>
            <p:nvSpPr>
              <p:cNvPr id="119" name="iSḻíḓe">
                <a:extLst>
                  <a:ext uri="{FF2B5EF4-FFF2-40B4-BE49-F238E27FC236}">
                    <a16:creationId xmlns:a16="http://schemas.microsoft.com/office/drawing/2014/main" id="{6E916A83-9FFA-40D4-B0A1-BE080AF48EE4}"/>
                  </a:ext>
                </a:extLst>
              </p:cNvPr>
              <p:cNvSpPr/>
              <p:nvPr/>
            </p:nvSpPr>
            <p:spPr>
              <a:xfrm>
                <a:off x="7109650" y="2067591"/>
                <a:ext cx="86105" cy="398144"/>
              </a:xfrm>
              <a:custGeom>
                <a:avLst/>
                <a:gdLst>
                  <a:gd name="connsiteX0" fmla="*/ 22384 w 86105"/>
                  <a:gd name="connsiteY0" fmla="*/ 398145 h 398144"/>
                  <a:gd name="connsiteX1" fmla="*/ 86106 w 86105"/>
                  <a:gd name="connsiteY1" fmla="*/ 49244 h 398144"/>
                  <a:gd name="connsiteX2" fmla="*/ 84867 w 86105"/>
                  <a:gd name="connsiteY2" fmla="*/ 0 h 398144"/>
                  <a:gd name="connsiteX3" fmla="*/ 0 w 86105"/>
                  <a:gd name="connsiteY3" fmla="*/ 0 h 398144"/>
                  <a:gd name="connsiteX4" fmla="*/ 0 w 86105"/>
                  <a:gd name="connsiteY4" fmla="*/ 398050 h 398144"/>
                  <a:gd name="connsiteX5" fmla="*/ 22384 w 86105"/>
                  <a:gd name="connsiteY5" fmla="*/ 398050 h 3981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86105" h="398144">
                    <a:moveTo>
                      <a:pt x="22384" y="398145"/>
                    </a:moveTo>
                    <a:cubicBezTo>
                      <a:pt x="63532" y="289655"/>
                      <a:pt x="86106" y="172117"/>
                      <a:pt x="86106" y="49244"/>
                    </a:cubicBezTo>
                    <a:cubicBezTo>
                      <a:pt x="86106" y="32766"/>
                      <a:pt x="85725" y="16288"/>
                      <a:pt x="84867" y="0"/>
                    </a:cubicBezTo>
                    <a:lnTo>
                      <a:pt x="0" y="0"/>
                    </a:lnTo>
                    <a:lnTo>
                      <a:pt x="0" y="398050"/>
                    </a:lnTo>
                    <a:lnTo>
                      <a:pt x="22384" y="398050"/>
                    </a:lnTo>
                    <a:close/>
                  </a:path>
                </a:pathLst>
              </a:custGeom>
              <a:solidFill>
                <a:srgbClr val="637B36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 sz="1800"/>
              </a:p>
            </p:txBody>
          </p:sp>
          <p:sp>
            <p:nvSpPr>
              <p:cNvPr id="120" name="îṡ1íḍè">
                <a:extLst>
                  <a:ext uri="{FF2B5EF4-FFF2-40B4-BE49-F238E27FC236}">
                    <a16:creationId xmlns:a16="http://schemas.microsoft.com/office/drawing/2014/main" id="{2D0E39D2-0355-4F5B-A2FD-8E6682A8E1E6}"/>
                  </a:ext>
                </a:extLst>
              </p:cNvPr>
              <p:cNvSpPr/>
              <p:nvPr/>
            </p:nvSpPr>
            <p:spPr>
              <a:xfrm>
                <a:off x="6121050" y="2001488"/>
                <a:ext cx="367283" cy="225170"/>
              </a:xfrm>
              <a:custGeom>
                <a:avLst/>
                <a:gdLst>
                  <a:gd name="connsiteX0" fmla="*/ 361664 w 367283"/>
                  <a:gd name="connsiteY0" fmla="*/ 132683 h 225170"/>
                  <a:gd name="connsiteX1" fmla="*/ 331565 w 367283"/>
                  <a:gd name="connsiteY1" fmla="*/ 0 h 225170"/>
                  <a:gd name="connsiteX2" fmla="*/ 0 w 367283"/>
                  <a:gd name="connsiteY2" fmla="*/ 41434 h 225170"/>
                  <a:gd name="connsiteX3" fmla="*/ 24765 w 367283"/>
                  <a:gd name="connsiteY3" fmla="*/ 225171 h 225170"/>
                  <a:gd name="connsiteX4" fmla="*/ 367284 w 367283"/>
                  <a:gd name="connsiteY4" fmla="*/ 152781 h 2251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67283" h="225170">
                    <a:moveTo>
                      <a:pt x="361664" y="132683"/>
                    </a:moveTo>
                    <a:lnTo>
                      <a:pt x="331565" y="0"/>
                    </a:lnTo>
                    <a:lnTo>
                      <a:pt x="0" y="41434"/>
                    </a:lnTo>
                    <a:lnTo>
                      <a:pt x="24765" y="225171"/>
                    </a:lnTo>
                    <a:lnTo>
                      <a:pt x="367284" y="152781"/>
                    </a:lnTo>
                    <a:close/>
                  </a:path>
                </a:pathLst>
              </a:custGeom>
              <a:solidFill>
                <a:srgbClr val="637B36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 sz="1800"/>
              </a:p>
            </p:txBody>
          </p:sp>
        </p:grpSp>
        <p:sp>
          <p:nvSpPr>
            <p:cNvPr id="90" name="iśļiďè">
              <a:extLst>
                <a:ext uri="{FF2B5EF4-FFF2-40B4-BE49-F238E27FC236}">
                  <a16:creationId xmlns:a16="http://schemas.microsoft.com/office/drawing/2014/main" id="{4C5792BF-601B-4DCF-B7CF-1893DCF191FD}"/>
                </a:ext>
              </a:extLst>
            </p:cNvPr>
            <p:cNvSpPr/>
            <p:nvPr/>
          </p:nvSpPr>
          <p:spPr>
            <a:xfrm>
              <a:off x="5225700" y="1336738"/>
              <a:ext cx="1607153" cy="1825942"/>
            </a:xfrm>
            <a:custGeom>
              <a:avLst/>
              <a:gdLst>
                <a:gd name="connsiteX0" fmla="*/ 157163 w 1607153"/>
                <a:gd name="connsiteY0" fmla="*/ 741712 h 1825942"/>
                <a:gd name="connsiteX1" fmla="*/ 499586 w 1607153"/>
                <a:gd name="connsiteY1" fmla="*/ 0 h 1825942"/>
                <a:gd name="connsiteX2" fmla="*/ 0 w 1607153"/>
                <a:gd name="connsiteY2" fmla="*/ 851154 h 1825942"/>
                <a:gd name="connsiteX3" fmla="*/ 974788 w 1607153"/>
                <a:gd name="connsiteY3" fmla="*/ 1825942 h 1825942"/>
                <a:gd name="connsiteX4" fmla="*/ 1607153 w 1607153"/>
                <a:gd name="connsiteY4" fmla="*/ 1592961 h 1825942"/>
                <a:gd name="connsiteX5" fmla="*/ 1131951 w 1607153"/>
                <a:gd name="connsiteY5" fmla="*/ 1716500 h 1825942"/>
                <a:gd name="connsiteX6" fmla="*/ 157163 w 1607153"/>
                <a:gd name="connsiteY6" fmla="*/ 741712 h 18259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607153" h="1825942">
                  <a:moveTo>
                    <a:pt x="157163" y="741712"/>
                  </a:moveTo>
                  <a:cubicBezTo>
                    <a:pt x="157163" y="444722"/>
                    <a:pt x="290036" y="178784"/>
                    <a:pt x="499586" y="0"/>
                  </a:cubicBezTo>
                  <a:cubicBezTo>
                    <a:pt x="201549" y="166783"/>
                    <a:pt x="0" y="485394"/>
                    <a:pt x="0" y="851154"/>
                  </a:cubicBezTo>
                  <a:cubicBezTo>
                    <a:pt x="0" y="1389507"/>
                    <a:pt x="436436" y="1825942"/>
                    <a:pt x="974788" y="1825942"/>
                  </a:cubicBezTo>
                  <a:cubicBezTo>
                    <a:pt x="1216152" y="1825942"/>
                    <a:pt x="1436941" y="1738217"/>
                    <a:pt x="1607153" y="1592961"/>
                  </a:cubicBezTo>
                  <a:cubicBezTo>
                    <a:pt x="1466564" y="1671638"/>
                    <a:pt x="1304449" y="1716500"/>
                    <a:pt x="1131951" y="1716500"/>
                  </a:cubicBezTo>
                  <a:cubicBezTo>
                    <a:pt x="593598" y="1716405"/>
                    <a:pt x="157163" y="1280065"/>
                    <a:pt x="157163" y="741712"/>
                  </a:cubicBezTo>
                  <a:close/>
                </a:path>
              </a:pathLst>
            </a:custGeom>
            <a:solidFill>
              <a:srgbClr val="773020">
                <a:alpha val="20000"/>
              </a:srgb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 sz="1800"/>
            </a:p>
          </p:txBody>
        </p:sp>
      </p:grpSp>
      <p:grpSp>
        <p:nvGrpSpPr>
          <p:cNvPr id="129" name="图形 5">
            <a:extLst>
              <a:ext uri="{FF2B5EF4-FFF2-40B4-BE49-F238E27FC236}">
                <a16:creationId xmlns:a16="http://schemas.microsoft.com/office/drawing/2014/main" id="{1E0C4E54-0C8E-42F4-99A8-4676C3E6CD0C}"/>
              </a:ext>
            </a:extLst>
          </p:cNvPr>
          <p:cNvGrpSpPr/>
          <p:nvPr userDrawn="1"/>
        </p:nvGrpSpPr>
        <p:grpSpPr>
          <a:xfrm rot="2123278">
            <a:off x="-2631009" y="-789898"/>
            <a:ext cx="5092559" cy="5162593"/>
            <a:chOff x="2376890" y="771442"/>
            <a:chExt cx="2757091" cy="2795007"/>
          </a:xfrm>
          <a:solidFill>
            <a:schemeClr val="accent1"/>
          </a:solidFill>
        </p:grpSpPr>
        <p:sp>
          <p:nvSpPr>
            <p:cNvPr id="130" name="ïṡḻîḓe">
              <a:extLst>
                <a:ext uri="{FF2B5EF4-FFF2-40B4-BE49-F238E27FC236}">
                  <a16:creationId xmlns:a16="http://schemas.microsoft.com/office/drawing/2014/main" id="{CF0588E7-8258-4A58-BAE7-FE6675308138}"/>
                </a:ext>
              </a:extLst>
            </p:cNvPr>
            <p:cNvSpPr/>
            <p:nvPr/>
          </p:nvSpPr>
          <p:spPr>
            <a:xfrm>
              <a:off x="2586037" y="1642205"/>
              <a:ext cx="295275" cy="295275"/>
            </a:xfrm>
            <a:custGeom>
              <a:avLst/>
              <a:gdLst>
                <a:gd name="connsiteX0" fmla="*/ 295275 w 295275"/>
                <a:gd name="connsiteY0" fmla="*/ 147638 h 295275"/>
                <a:gd name="connsiteX1" fmla="*/ 147638 w 295275"/>
                <a:gd name="connsiteY1" fmla="*/ 295275 h 295275"/>
                <a:gd name="connsiteX2" fmla="*/ 0 w 295275"/>
                <a:gd name="connsiteY2" fmla="*/ 147638 h 295275"/>
                <a:gd name="connsiteX3" fmla="*/ 147638 w 295275"/>
                <a:gd name="connsiteY3" fmla="*/ 0 h 295275"/>
                <a:gd name="connsiteX4" fmla="*/ 295275 w 295275"/>
                <a:gd name="connsiteY4" fmla="*/ 147638 h 295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95275" h="295275">
                  <a:moveTo>
                    <a:pt x="295275" y="147638"/>
                  </a:moveTo>
                  <a:cubicBezTo>
                    <a:pt x="295275" y="229176"/>
                    <a:pt x="229175" y="295275"/>
                    <a:pt x="147638" y="295275"/>
                  </a:cubicBezTo>
                  <a:cubicBezTo>
                    <a:pt x="66100" y="295275"/>
                    <a:pt x="0" y="229176"/>
                    <a:pt x="0" y="147638"/>
                  </a:cubicBezTo>
                  <a:cubicBezTo>
                    <a:pt x="0" y="66100"/>
                    <a:pt x="66100" y="0"/>
                    <a:pt x="147638" y="0"/>
                  </a:cubicBezTo>
                  <a:cubicBezTo>
                    <a:pt x="229175" y="0"/>
                    <a:pt x="295275" y="66100"/>
                    <a:pt x="295275" y="147638"/>
                  </a:cubicBezTo>
                  <a:close/>
                </a:path>
              </a:pathLst>
            </a:custGeom>
            <a:solidFill>
              <a:srgbClr val="E7BB9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 sz="1800"/>
            </a:p>
          </p:txBody>
        </p:sp>
        <p:sp>
          <p:nvSpPr>
            <p:cNvPr id="131" name="ísļîḍe">
              <a:extLst>
                <a:ext uri="{FF2B5EF4-FFF2-40B4-BE49-F238E27FC236}">
                  <a16:creationId xmlns:a16="http://schemas.microsoft.com/office/drawing/2014/main" id="{8B18EC74-C9CA-4765-9622-2AC8F0985CCB}"/>
                </a:ext>
              </a:extLst>
            </p:cNvPr>
            <p:cNvSpPr/>
            <p:nvPr/>
          </p:nvSpPr>
          <p:spPr>
            <a:xfrm>
              <a:off x="4630768" y="1642205"/>
              <a:ext cx="295275" cy="295275"/>
            </a:xfrm>
            <a:custGeom>
              <a:avLst/>
              <a:gdLst>
                <a:gd name="connsiteX0" fmla="*/ 295275 w 295275"/>
                <a:gd name="connsiteY0" fmla="*/ 147638 h 295275"/>
                <a:gd name="connsiteX1" fmla="*/ 147637 w 295275"/>
                <a:gd name="connsiteY1" fmla="*/ 295275 h 295275"/>
                <a:gd name="connsiteX2" fmla="*/ 0 w 295275"/>
                <a:gd name="connsiteY2" fmla="*/ 147638 h 295275"/>
                <a:gd name="connsiteX3" fmla="*/ 147637 w 295275"/>
                <a:gd name="connsiteY3" fmla="*/ 0 h 295275"/>
                <a:gd name="connsiteX4" fmla="*/ 295275 w 295275"/>
                <a:gd name="connsiteY4" fmla="*/ 147638 h 295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95275" h="295275">
                  <a:moveTo>
                    <a:pt x="295275" y="147638"/>
                  </a:moveTo>
                  <a:cubicBezTo>
                    <a:pt x="295275" y="229176"/>
                    <a:pt x="229175" y="295275"/>
                    <a:pt x="147637" y="295275"/>
                  </a:cubicBezTo>
                  <a:cubicBezTo>
                    <a:pt x="66100" y="295275"/>
                    <a:pt x="0" y="229176"/>
                    <a:pt x="0" y="147638"/>
                  </a:cubicBezTo>
                  <a:cubicBezTo>
                    <a:pt x="0" y="66100"/>
                    <a:pt x="66100" y="0"/>
                    <a:pt x="147637" y="0"/>
                  </a:cubicBezTo>
                  <a:cubicBezTo>
                    <a:pt x="229175" y="0"/>
                    <a:pt x="295275" y="66100"/>
                    <a:pt x="295275" y="147638"/>
                  </a:cubicBezTo>
                  <a:close/>
                </a:path>
              </a:pathLst>
            </a:custGeom>
            <a:solidFill>
              <a:srgbClr val="E7BB9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 sz="1800"/>
            </a:p>
          </p:txBody>
        </p:sp>
        <p:sp>
          <p:nvSpPr>
            <p:cNvPr id="132" name="íŝľiḍé">
              <a:extLst>
                <a:ext uri="{FF2B5EF4-FFF2-40B4-BE49-F238E27FC236}">
                  <a16:creationId xmlns:a16="http://schemas.microsoft.com/office/drawing/2014/main" id="{DE67420F-A37A-42D5-BDA1-50D41A17A931}"/>
                </a:ext>
              </a:extLst>
            </p:cNvPr>
            <p:cNvSpPr/>
            <p:nvPr/>
          </p:nvSpPr>
          <p:spPr>
            <a:xfrm>
              <a:off x="2710242" y="1673637"/>
              <a:ext cx="108852" cy="251841"/>
            </a:xfrm>
            <a:custGeom>
              <a:avLst/>
              <a:gdLst>
                <a:gd name="connsiteX0" fmla="*/ 58198 w 108852"/>
                <a:gd name="connsiteY0" fmla="*/ 251841 h 251841"/>
                <a:gd name="connsiteX1" fmla="*/ 44196 w 108852"/>
                <a:gd name="connsiteY1" fmla="*/ 238982 h 251841"/>
                <a:gd name="connsiteX2" fmla="*/ 88392 w 108852"/>
                <a:gd name="connsiteY2" fmla="*/ 125158 h 251841"/>
                <a:gd name="connsiteX3" fmla="*/ 0 w 108852"/>
                <a:gd name="connsiteY3" fmla="*/ 16859 h 251841"/>
                <a:gd name="connsiteX4" fmla="*/ 8953 w 108852"/>
                <a:gd name="connsiteY4" fmla="*/ 0 h 251841"/>
                <a:gd name="connsiteX5" fmla="*/ 107156 w 108852"/>
                <a:gd name="connsiteY5" fmla="*/ 121825 h 251841"/>
                <a:gd name="connsiteX6" fmla="*/ 58198 w 108852"/>
                <a:gd name="connsiteY6" fmla="*/ 251841 h 2518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8852" h="251841">
                  <a:moveTo>
                    <a:pt x="58198" y="251841"/>
                  </a:moveTo>
                  <a:lnTo>
                    <a:pt x="44196" y="238982"/>
                  </a:lnTo>
                  <a:cubicBezTo>
                    <a:pt x="79820" y="200311"/>
                    <a:pt x="94678" y="162020"/>
                    <a:pt x="88392" y="125158"/>
                  </a:cubicBezTo>
                  <a:cubicBezTo>
                    <a:pt x="77152" y="58769"/>
                    <a:pt x="762" y="17240"/>
                    <a:pt x="0" y="16859"/>
                  </a:cubicBezTo>
                  <a:lnTo>
                    <a:pt x="8953" y="0"/>
                  </a:lnTo>
                  <a:cubicBezTo>
                    <a:pt x="12478" y="1810"/>
                    <a:pt x="94202" y="46196"/>
                    <a:pt x="107156" y="121825"/>
                  </a:cubicBezTo>
                  <a:cubicBezTo>
                    <a:pt x="114490" y="164783"/>
                    <a:pt x="98012" y="208598"/>
                    <a:pt x="58198" y="251841"/>
                  </a:cubicBezTo>
                  <a:close/>
                </a:path>
              </a:pathLst>
            </a:custGeom>
            <a:solidFill>
              <a:srgbClr val="D4927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 sz="1800"/>
            </a:p>
          </p:txBody>
        </p:sp>
        <p:sp>
          <p:nvSpPr>
            <p:cNvPr id="133" name="îṧḷîḋê">
              <a:extLst>
                <a:ext uri="{FF2B5EF4-FFF2-40B4-BE49-F238E27FC236}">
                  <a16:creationId xmlns:a16="http://schemas.microsoft.com/office/drawing/2014/main" id="{AE66B458-FABD-4BA5-9AA1-9C0DE4EE0677}"/>
                </a:ext>
              </a:extLst>
            </p:cNvPr>
            <p:cNvSpPr/>
            <p:nvPr/>
          </p:nvSpPr>
          <p:spPr>
            <a:xfrm>
              <a:off x="2715040" y="1729168"/>
              <a:ext cx="79498" cy="155162"/>
            </a:xfrm>
            <a:custGeom>
              <a:avLst/>
              <a:gdLst>
                <a:gd name="connsiteX0" fmla="*/ 69021 w 79498"/>
                <a:gd name="connsiteY0" fmla="*/ 155162 h 155162"/>
                <a:gd name="connsiteX1" fmla="*/ 251 w 79498"/>
                <a:gd name="connsiteY1" fmla="*/ 61531 h 155162"/>
                <a:gd name="connsiteX2" fmla="*/ 55591 w 79498"/>
                <a:gd name="connsiteY2" fmla="*/ 0 h 155162"/>
                <a:gd name="connsiteX3" fmla="*/ 62735 w 79498"/>
                <a:gd name="connsiteY3" fmla="*/ 17717 h 155162"/>
                <a:gd name="connsiteX4" fmla="*/ 19205 w 79498"/>
                <a:gd name="connsiteY4" fmla="*/ 63532 h 155162"/>
                <a:gd name="connsiteX5" fmla="*/ 79499 w 79498"/>
                <a:gd name="connsiteY5" fmla="*/ 139256 h 155162"/>
                <a:gd name="connsiteX6" fmla="*/ 69021 w 79498"/>
                <a:gd name="connsiteY6" fmla="*/ 155162 h 1551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9498" h="155162">
                  <a:moveTo>
                    <a:pt x="69021" y="155162"/>
                  </a:moveTo>
                  <a:cubicBezTo>
                    <a:pt x="20444" y="123254"/>
                    <a:pt x="-2702" y="91726"/>
                    <a:pt x="251" y="61531"/>
                  </a:cubicBezTo>
                  <a:cubicBezTo>
                    <a:pt x="4251" y="21146"/>
                    <a:pt x="53495" y="857"/>
                    <a:pt x="55591" y="0"/>
                  </a:cubicBezTo>
                  <a:lnTo>
                    <a:pt x="62735" y="17717"/>
                  </a:lnTo>
                  <a:cubicBezTo>
                    <a:pt x="62354" y="17907"/>
                    <a:pt x="22063" y="34576"/>
                    <a:pt x="19205" y="63532"/>
                  </a:cubicBezTo>
                  <a:cubicBezTo>
                    <a:pt x="17015" y="85725"/>
                    <a:pt x="37874" y="111919"/>
                    <a:pt x="79499" y="139256"/>
                  </a:cubicBezTo>
                  <a:lnTo>
                    <a:pt x="69021" y="155162"/>
                  </a:lnTo>
                  <a:close/>
                </a:path>
              </a:pathLst>
            </a:custGeom>
            <a:solidFill>
              <a:srgbClr val="D4927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 sz="1800"/>
            </a:p>
          </p:txBody>
        </p:sp>
        <p:sp>
          <p:nvSpPr>
            <p:cNvPr id="134" name="íṣ1îḓe">
              <a:extLst>
                <a:ext uri="{FF2B5EF4-FFF2-40B4-BE49-F238E27FC236}">
                  <a16:creationId xmlns:a16="http://schemas.microsoft.com/office/drawing/2014/main" id="{4907AB38-DE4A-4B35-B296-60805997C80B}"/>
                </a:ext>
              </a:extLst>
            </p:cNvPr>
            <p:cNvSpPr/>
            <p:nvPr/>
          </p:nvSpPr>
          <p:spPr>
            <a:xfrm>
              <a:off x="4673268" y="1673637"/>
              <a:ext cx="108852" cy="251841"/>
            </a:xfrm>
            <a:custGeom>
              <a:avLst/>
              <a:gdLst>
                <a:gd name="connsiteX0" fmla="*/ 50654 w 108852"/>
                <a:gd name="connsiteY0" fmla="*/ 251841 h 251841"/>
                <a:gd name="connsiteX1" fmla="*/ 1696 w 108852"/>
                <a:gd name="connsiteY1" fmla="*/ 121825 h 251841"/>
                <a:gd name="connsiteX2" fmla="*/ 99899 w 108852"/>
                <a:gd name="connsiteY2" fmla="*/ 0 h 251841"/>
                <a:gd name="connsiteX3" fmla="*/ 108852 w 108852"/>
                <a:gd name="connsiteY3" fmla="*/ 16859 h 251841"/>
                <a:gd name="connsiteX4" fmla="*/ 20460 w 108852"/>
                <a:gd name="connsiteY4" fmla="*/ 125158 h 251841"/>
                <a:gd name="connsiteX5" fmla="*/ 64656 w 108852"/>
                <a:gd name="connsiteY5" fmla="*/ 238982 h 251841"/>
                <a:gd name="connsiteX6" fmla="*/ 50654 w 108852"/>
                <a:gd name="connsiteY6" fmla="*/ 251841 h 2518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8852" h="251841">
                  <a:moveTo>
                    <a:pt x="50654" y="251841"/>
                  </a:moveTo>
                  <a:cubicBezTo>
                    <a:pt x="10840" y="208502"/>
                    <a:pt x="-5638" y="164783"/>
                    <a:pt x="1696" y="121825"/>
                  </a:cubicBezTo>
                  <a:cubicBezTo>
                    <a:pt x="14650" y="46196"/>
                    <a:pt x="96470" y="1905"/>
                    <a:pt x="99899" y="0"/>
                  </a:cubicBezTo>
                  <a:lnTo>
                    <a:pt x="108852" y="16859"/>
                  </a:lnTo>
                  <a:cubicBezTo>
                    <a:pt x="108090" y="17240"/>
                    <a:pt x="31700" y="58769"/>
                    <a:pt x="20460" y="125158"/>
                  </a:cubicBezTo>
                  <a:cubicBezTo>
                    <a:pt x="14174" y="161925"/>
                    <a:pt x="29033" y="200216"/>
                    <a:pt x="64656" y="238982"/>
                  </a:cubicBezTo>
                  <a:lnTo>
                    <a:pt x="50654" y="251841"/>
                  </a:lnTo>
                  <a:close/>
                </a:path>
              </a:pathLst>
            </a:custGeom>
            <a:solidFill>
              <a:srgbClr val="D4927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 sz="1800"/>
            </a:p>
          </p:txBody>
        </p:sp>
        <p:sp>
          <p:nvSpPr>
            <p:cNvPr id="135" name="ïṩ1iďé">
              <a:extLst>
                <a:ext uri="{FF2B5EF4-FFF2-40B4-BE49-F238E27FC236}">
                  <a16:creationId xmlns:a16="http://schemas.microsoft.com/office/drawing/2014/main" id="{E9BB9F8E-CCB6-4F8D-BB26-15563DE57C7B}"/>
                </a:ext>
              </a:extLst>
            </p:cNvPr>
            <p:cNvSpPr/>
            <p:nvPr/>
          </p:nvSpPr>
          <p:spPr>
            <a:xfrm>
              <a:off x="4697729" y="1729168"/>
              <a:ext cx="79514" cy="155162"/>
            </a:xfrm>
            <a:custGeom>
              <a:avLst/>
              <a:gdLst>
                <a:gd name="connsiteX0" fmla="*/ 10478 w 79514"/>
                <a:gd name="connsiteY0" fmla="*/ 155162 h 155162"/>
                <a:gd name="connsiteX1" fmla="*/ 0 w 79514"/>
                <a:gd name="connsiteY1" fmla="*/ 139256 h 155162"/>
                <a:gd name="connsiteX2" fmla="*/ 60293 w 79514"/>
                <a:gd name="connsiteY2" fmla="*/ 63436 h 155162"/>
                <a:gd name="connsiteX3" fmla="*/ 16764 w 79514"/>
                <a:gd name="connsiteY3" fmla="*/ 17717 h 155162"/>
                <a:gd name="connsiteX4" fmla="*/ 23908 w 79514"/>
                <a:gd name="connsiteY4" fmla="*/ 0 h 155162"/>
                <a:gd name="connsiteX5" fmla="*/ 79248 w 79514"/>
                <a:gd name="connsiteY5" fmla="*/ 61531 h 155162"/>
                <a:gd name="connsiteX6" fmla="*/ 10478 w 79514"/>
                <a:gd name="connsiteY6" fmla="*/ 155162 h 1551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9514" h="155162">
                  <a:moveTo>
                    <a:pt x="10478" y="155162"/>
                  </a:moveTo>
                  <a:lnTo>
                    <a:pt x="0" y="139256"/>
                  </a:lnTo>
                  <a:cubicBezTo>
                    <a:pt x="41624" y="111919"/>
                    <a:pt x="62484" y="85725"/>
                    <a:pt x="60293" y="63436"/>
                  </a:cubicBezTo>
                  <a:cubicBezTo>
                    <a:pt x="57436" y="34861"/>
                    <a:pt x="17145" y="17907"/>
                    <a:pt x="16764" y="17717"/>
                  </a:cubicBezTo>
                  <a:lnTo>
                    <a:pt x="23908" y="0"/>
                  </a:lnTo>
                  <a:cubicBezTo>
                    <a:pt x="26003" y="857"/>
                    <a:pt x="75248" y="21146"/>
                    <a:pt x="79248" y="61531"/>
                  </a:cubicBezTo>
                  <a:cubicBezTo>
                    <a:pt x="82296" y="91631"/>
                    <a:pt x="59150" y="123158"/>
                    <a:pt x="10478" y="155162"/>
                  </a:cubicBezTo>
                  <a:close/>
                </a:path>
              </a:pathLst>
            </a:custGeom>
            <a:solidFill>
              <a:srgbClr val="D4927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 sz="1800"/>
            </a:p>
          </p:txBody>
        </p:sp>
        <p:sp>
          <p:nvSpPr>
            <p:cNvPr id="136" name="íṡlïdé">
              <a:extLst>
                <a:ext uri="{FF2B5EF4-FFF2-40B4-BE49-F238E27FC236}">
                  <a16:creationId xmlns:a16="http://schemas.microsoft.com/office/drawing/2014/main" id="{12392F8C-445B-4698-AB8E-8AED9A5C3FC3}"/>
                </a:ext>
              </a:extLst>
            </p:cNvPr>
            <p:cNvSpPr/>
            <p:nvPr/>
          </p:nvSpPr>
          <p:spPr>
            <a:xfrm rot="-2700000">
              <a:off x="2780657" y="1213124"/>
              <a:ext cx="1949558" cy="1949558"/>
            </a:xfrm>
            <a:custGeom>
              <a:avLst/>
              <a:gdLst>
                <a:gd name="connsiteX0" fmla="*/ 1949558 w 1949558"/>
                <a:gd name="connsiteY0" fmla="*/ 974779 h 1949558"/>
                <a:gd name="connsiteX1" fmla="*/ 974779 w 1949558"/>
                <a:gd name="connsiteY1" fmla="*/ 1949558 h 1949558"/>
                <a:gd name="connsiteX2" fmla="*/ 0 w 1949558"/>
                <a:gd name="connsiteY2" fmla="*/ 974779 h 1949558"/>
                <a:gd name="connsiteX3" fmla="*/ 974779 w 1949558"/>
                <a:gd name="connsiteY3" fmla="*/ 0 h 1949558"/>
                <a:gd name="connsiteX4" fmla="*/ 1949558 w 1949558"/>
                <a:gd name="connsiteY4" fmla="*/ 974779 h 19495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49558" h="1949558">
                  <a:moveTo>
                    <a:pt x="1949558" y="974779"/>
                  </a:moveTo>
                  <a:cubicBezTo>
                    <a:pt x="1949558" y="1513135"/>
                    <a:pt x="1513135" y="1949558"/>
                    <a:pt x="974779" y="1949558"/>
                  </a:cubicBezTo>
                  <a:cubicBezTo>
                    <a:pt x="436424" y="1949558"/>
                    <a:pt x="0" y="1513135"/>
                    <a:pt x="0" y="974779"/>
                  </a:cubicBezTo>
                  <a:cubicBezTo>
                    <a:pt x="0" y="436423"/>
                    <a:pt x="436424" y="0"/>
                    <a:pt x="974779" y="0"/>
                  </a:cubicBezTo>
                  <a:cubicBezTo>
                    <a:pt x="1513135" y="0"/>
                    <a:pt x="1949558" y="436423"/>
                    <a:pt x="1949558" y="974779"/>
                  </a:cubicBezTo>
                  <a:close/>
                </a:path>
              </a:pathLst>
            </a:custGeom>
            <a:solidFill>
              <a:srgbClr val="CD3C4C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 sz="1800"/>
            </a:p>
          </p:txBody>
        </p:sp>
        <p:sp>
          <p:nvSpPr>
            <p:cNvPr id="137" name="íSḻiďé">
              <a:extLst>
                <a:ext uri="{FF2B5EF4-FFF2-40B4-BE49-F238E27FC236}">
                  <a16:creationId xmlns:a16="http://schemas.microsoft.com/office/drawing/2014/main" id="{67A062FC-5D11-4EE7-A1BF-0836DE1CD23D}"/>
                </a:ext>
              </a:extLst>
            </p:cNvPr>
            <p:cNvSpPr/>
            <p:nvPr/>
          </p:nvSpPr>
          <p:spPr>
            <a:xfrm>
              <a:off x="2920174" y="1213008"/>
              <a:ext cx="1670494" cy="1333500"/>
            </a:xfrm>
            <a:custGeom>
              <a:avLst/>
              <a:gdLst>
                <a:gd name="connsiteX0" fmla="*/ 1670495 w 1670494"/>
                <a:gd name="connsiteY0" fmla="*/ 666750 h 1333500"/>
                <a:gd name="connsiteX1" fmla="*/ 835247 w 1670494"/>
                <a:gd name="connsiteY1" fmla="*/ 1333500 h 1333500"/>
                <a:gd name="connsiteX2" fmla="*/ 0 w 1670494"/>
                <a:gd name="connsiteY2" fmla="*/ 666750 h 1333500"/>
                <a:gd name="connsiteX3" fmla="*/ 835247 w 1670494"/>
                <a:gd name="connsiteY3" fmla="*/ 0 h 1333500"/>
                <a:gd name="connsiteX4" fmla="*/ 1670495 w 1670494"/>
                <a:gd name="connsiteY4" fmla="*/ 666750 h 1333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70494" h="1333500">
                  <a:moveTo>
                    <a:pt x="1670495" y="666750"/>
                  </a:moveTo>
                  <a:cubicBezTo>
                    <a:pt x="1670495" y="1034986"/>
                    <a:pt x="1296542" y="1333500"/>
                    <a:pt x="835247" y="1333500"/>
                  </a:cubicBezTo>
                  <a:cubicBezTo>
                    <a:pt x="373953" y="1333500"/>
                    <a:pt x="0" y="1034986"/>
                    <a:pt x="0" y="666750"/>
                  </a:cubicBezTo>
                  <a:cubicBezTo>
                    <a:pt x="0" y="298514"/>
                    <a:pt x="373953" y="0"/>
                    <a:pt x="835247" y="0"/>
                  </a:cubicBezTo>
                  <a:cubicBezTo>
                    <a:pt x="1296542" y="0"/>
                    <a:pt x="1670495" y="298514"/>
                    <a:pt x="1670495" y="666750"/>
                  </a:cubicBezTo>
                  <a:close/>
                </a:path>
              </a:pathLst>
            </a:custGeom>
            <a:solidFill>
              <a:srgbClr val="E7BB9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 sz="1800"/>
            </a:p>
          </p:txBody>
        </p:sp>
        <p:sp>
          <p:nvSpPr>
            <p:cNvPr id="138" name="išḻïḑe">
              <a:extLst>
                <a:ext uri="{FF2B5EF4-FFF2-40B4-BE49-F238E27FC236}">
                  <a16:creationId xmlns:a16="http://schemas.microsoft.com/office/drawing/2014/main" id="{FF0826F1-C19D-4D92-B0E7-4661290D07E6}"/>
                </a:ext>
              </a:extLst>
            </p:cNvPr>
            <p:cNvSpPr/>
            <p:nvPr/>
          </p:nvSpPr>
          <p:spPr>
            <a:xfrm>
              <a:off x="3991831" y="1625822"/>
              <a:ext cx="196786" cy="196786"/>
            </a:xfrm>
            <a:custGeom>
              <a:avLst/>
              <a:gdLst>
                <a:gd name="connsiteX0" fmla="*/ 196787 w 196786"/>
                <a:gd name="connsiteY0" fmla="*/ 98393 h 196786"/>
                <a:gd name="connsiteX1" fmla="*/ 98393 w 196786"/>
                <a:gd name="connsiteY1" fmla="*/ 196787 h 196786"/>
                <a:gd name="connsiteX2" fmla="*/ 0 w 196786"/>
                <a:gd name="connsiteY2" fmla="*/ 98393 h 196786"/>
                <a:gd name="connsiteX3" fmla="*/ 98393 w 196786"/>
                <a:gd name="connsiteY3" fmla="*/ 0 h 196786"/>
                <a:gd name="connsiteX4" fmla="*/ 196787 w 196786"/>
                <a:gd name="connsiteY4" fmla="*/ 98393 h 1967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6786" h="196786">
                  <a:moveTo>
                    <a:pt x="196787" y="98393"/>
                  </a:moveTo>
                  <a:cubicBezTo>
                    <a:pt x="196787" y="152781"/>
                    <a:pt x="152686" y="196787"/>
                    <a:pt x="98393" y="196787"/>
                  </a:cubicBezTo>
                  <a:cubicBezTo>
                    <a:pt x="44006" y="196787"/>
                    <a:pt x="0" y="152686"/>
                    <a:pt x="0" y="98393"/>
                  </a:cubicBezTo>
                  <a:cubicBezTo>
                    <a:pt x="0" y="44006"/>
                    <a:pt x="44101" y="0"/>
                    <a:pt x="98393" y="0"/>
                  </a:cubicBezTo>
                  <a:cubicBezTo>
                    <a:pt x="152686" y="-95"/>
                    <a:pt x="196787" y="44006"/>
                    <a:pt x="196787" y="98393"/>
                  </a:cubicBezTo>
                  <a:close/>
                </a:path>
              </a:pathLst>
            </a:custGeom>
            <a:solidFill>
              <a:srgbClr val="7A2A2A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 sz="1800"/>
            </a:p>
          </p:txBody>
        </p:sp>
        <p:sp>
          <p:nvSpPr>
            <p:cNvPr id="139" name="î$1iḍe">
              <a:extLst>
                <a:ext uri="{FF2B5EF4-FFF2-40B4-BE49-F238E27FC236}">
                  <a16:creationId xmlns:a16="http://schemas.microsoft.com/office/drawing/2014/main" id="{68091378-0F2B-4BE1-9D9A-F1958C8507E3}"/>
                </a:ext>
              </a:extLst>
            </p:cNvPr>
            <p:cNvSpPr/>
            <p:nvPr/>
          </p:nvSpPr>
          <p:spPr>
            <a:xfrm>
              <a:off x="3284600" y="1691449"/>
              <a:ext cx="196786" cy="196786"/>
            </a:xfrm>
            <a:custGeom>
              <a:avLst/>
              <a:gdLst>
                <a:gd name="connsiteX0" fmla="*/ 196787 w 196786"/>
                <a:gd name="connsiteY0" fmla="*/ 98393 h 196786"/>
                <a:gd name="connsiteX1" fmla="*/ 98393 w 196786"/>
                <a:gd name="connsiteY1" fmla="*/ 196786 h 196786"/>
                <a:gd name="connsiteX2" fmla="*/ 0 w 196786"/>
                <a:gd name="connsiteY2" fmla="*/ 98393 h 196786"/>
                <a:gd name="connsiteX3" fmla="*/ 98393 w 196786"/>
                <a:gd name="connsiteY3" fmla="*/ 0 h 196786"/>
                <a:gd name="connsiteX4" fmla="*/ 196787 w 196786"/>
                <a:gd name="connsiteY4" fmla="*/ 98393 h 1967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6786" h="196786">
                  <a:moveTo>
                    <a:pt x="196787" y="98393"/>
                  </a:moveTo>
                  <a:cubicBezTo>
                    <a:pt x="196787" y="152781"/>
                    <a:pt x="152686" y="196786"/>
                    <a:pt x="98393" y="196786"/>
                  </a:cubicBezTo>
                  <a:cubicBezTo>
                    <a:pt x="44006" y="196786"/>
                    <a:pt x="0" y="152686"/>
                    <a:pt x="0" y="98393"/>
                  </a:cubicBezTo>
                  <a:cubicBezTo>
                    <a:pt x="0" y="44101"/>
                    <a:pt x="44101" y="0"/>
                    <a:pt x="98393" y="0"/>
                  </a:cubicBezTo>
                  <a:cubicBezTo>
                    <a:pt x="152781" y="0"/>
                    <a:pt x="196787" y="44005"/>
                    <a:pt x="196787" y="98393"/>
                  </a:cubicBezTo>
                  <a:close/>
                </a:path>
              </a:pathLst>
            </a:custGeom>
            <a:solidFill>
              <a:srgbClr val="7A2A2A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 sz="1800"/>
            </a:p>
          </p:txBody>
        </p:sp>
        <p:sp>
          <p:nvSpPr>
            <p:cNvPr id="140" name="ïṣlîḓê">
              <a:extLst>
                <a:ext uri="{FF2B5EF4-FFF2-40B4-BE49-F238E27FC236}">
                  <a16:creationId xmlns:a16="http://schemas.microsoft.com/office/drawing/2014/main" id="{9938F5DD-252D-499F-BE04-AA35B08C01BC}"/>
                </a:ext>
              </a:extLst>
            </p:cNvPr>
            <p:cNvSpPr/>
            <p:nvPr/>
          </p:nvSpPr>
          <p:spPr>
            <a:xfrm>
              <a:off x="3240499" y="1907285"/>
              <a:ext cx="1120997" cy="1120997"/>
            </a:xfrm>
            <a:custGeom>
              <a:avLst/>
              <a:gdLst>
                <a:gd name="connsiteX0" fmla="*/ 1120997 w 1120997"/>
                <a:gd name="connsiteY0" fmla="*/ 560451 h 1120997"/>
                <a:gd name="connsiteX1" fmla="*/ 560546 w 1120997"/>
                <a:gd name="connsiteY1" fmla="*/ 1120997 h 1120997"/>
                <a:gd name="connsiteX2" fmla="*/ 0 w 1120997"/>
                <a:gd name="connsiteY2" fmla="*/ 560451 h 1120997"/>
                <a:gd name="connsiteX3" fmla="*/ 560546 w 1120997"/>
                <a:gd name="connsiteY3" fmla="*/ 0 h 1120997"/>
                <a:gd name="connsiteX4" fmla="*/ 1120997 w 1120997"/>
                <a:gd name="connsiteY4" fmla="*/ 560451 h 11209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20997" h="1120997">
                  <a:moveTo>
                    <a:pt x="1120997" y="560451"/>
                  </a:moveTo>
                  <a:cubicBezTo>
                    <a:pt x="1120997" y="870014"/>
                    <a:pt x="870109" y="1120997"/>
                    <a:pt x="560546" y="1120997"/>
                  </a:cubicBezTo>
                  <a:cubicBezTo>
                    <a:pt x="250984" y="1120997"/>
                    <a:pt x="0" y="870014"/>
                    <a:pt x="0" y="560451"/>
                  </a:cubicBezTo>
                  <a:cubicBezTo>
                    <a:pt x="0" y="250889"/>
                    <a:pt x="250984" y="0"/>
                    <a:pt x="560546" y="0"/>
                  </a:cubicBezTo>
                  <a:cubicBezTo>
                    <a:pt x="870109" y="0"/>
                    <a:pt x="1120997" y="250889"/>
                    <a:pt x="1120997" y="560451"/>
                  </a:cubicBezTo>
                  <a:close/>
                </a:path>
              </a:pathLst>
            </a:custGeom>
            <a:solidFill>
              <a:srgbClr val="F2EED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 sz="1800"/>
            </a:p>
          </p:txBody>
        </p:sp>
        <p:sp>
          <p:nvSpPr>
            <p:cNvPr id="141" name="ïṡḷïḓe">
              <a:extLst>
                <a:ext uri="{FF2B5EF4-FFF2-40B4-BE49-F238E27FC236}">
                  <a16:creationId xmlns:a16="http://schemas.microsoft.com/office/drawing/2014/main" id="{21642C16-55B5-4C94-BCBA-28BFBCE52B46}"/>
                </a:ext>
              </a:extLst>
            </p:cNvPr>
            <p:cNvSpPr/>
            <p:nvPr/>
          </p:nvSpPr>
          <p:spPr>
            <a:xfrm>
              <a:off x="3509295" y="1296542"/>
              <a:ext cx="580834" cy="824293"/>
            </a:xfrm>
            <a:custGeom>
              <a:avLst/>
              <a:gdLst>
                <a:gd name="connsiteX0" fmla="*/ 228219 w 580834"/>
                <a:gd name="connsiteY0" fmla="*/ 0 h 824293"/>
                <a:gd name="connsiteX1" fmla="*/ 580835 w 580834"/>
                <a:gd name="connsiteY1" fmla="*/ 820293 h 824293"/>
                <a:gd name="connsiteX2" fmla="*/ 0 w 580834"/>
                <a:gd name="connsiteY2" fmla="*/ 824294 h 8242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580834" h="824293">
                  <a:moveTo>
                    <a:pt x="228219" y="0"/>
                  </a:moveTo>
                  <a:lnTo>
                    <a:pt x="580835" y="820293"/>
                  </a:lnTo>
                  <a:lnTo>
                    <a:pt x="0" y="824294"/>
                  </a:lnTo>
                  <a:close/>
                </a:path>
              </a:pathLst>
            </a:custGeom>
            <a:solidFill>
              <a:srgbClr val="CD3C4C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 sz="1800"/>
            </a:p>
          </p:txBody>
        </p:sp>
        <p:sp>
          <p:nvSpPr>
            <p:cNvPr id="142" name="íŝḷïḋè">
              <a:extLst>
                <a:ext uri="{FF2B5EF4-FFF2-40B4-BE49-F238E27FC236}">
                  <a16:creationId xmlns:a16="http://schemas.microsoft.com/office/drawing/2014/main" id="{0CBBBB01-558C-4716-B0AA-1C6B28442989}"/>
                </a:ext>
              </a:extLst>
            </p:cNvPr>
            <p:cNvSpPr/>
            <p:nvPr/>
          </p:nvSpPr>
          <p:spPr>
            <a:xfrm>
              <a:off x="2832987" y="1439322"/>
              <a:ext cx="917290" cy="1588674"/>
            </a:xfrm>
            <a:custGeom>
              <a:avLst/>
              <a:gdLst>
                <a:gd name="connsiteX0" fmla="*/ 301690 w 917290"/>
                <a:gd name="connsiteY0" fmla="*/ 0 h 1588674"/>
                <a:gd name="connsiteX1" fmla="*/ 556579 w 917290"/>
                <a:gd name="connsiteY1" fmla="*/ 718566 h 1588674"/>
                <a:gd name="connsiteX2" fmla="*/ 917291 w 917290"/>
                <a:gd name="connsiteY2" fmla="*/ 1588675 h 1588674"/>
                <a:gd name="connsiteX3" fmla="*/ 509 w 917290"/>
                <a:gd name="connsiteY3" fmla="*/ 431483 h 1588674"/>
                <a:gd name="connsiteX4" fmla="*/ 301690 w 917290"/>
                <a:gd name="connsiteY4" fmla="*/ 0 h 15886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17290" h="1588674">
                  <a:moveTo>
                    <a:pt x="301690" y="0"/>
                  </a:moveTo>
                  <a:cubicBezTo>
                    <a:pt x="301690" y="0"/>
                    <a:pt x="-67309" y="657606"/>
                    <a:pt x="556579" y="718566"/>
                  </a:cubicBezTo>
                  <a:lnTo>
                    <a:pt x="917291" y="1588675"/>
                  </a:lnTo>
                  <a:cubicBezTo>
                    <a:pt x="917291" y="1588675"/>
                    <a:pt x="-25018" y="1545622"/>
                    <a:pt x="509" y="431483"/>
                  </a:cubicBezTo>
                  <a:cubicBezTo>
                    <a:pt x="509" y="431387"/>
                    <a:pt x="68327" y="182213"/>
                    <a:pt x="301690" y="0"/>
                  </a:cubicBezTo>
                  <a:close/>
                </a:path>
              </a:pathLst>
            </a:custGeom>
            <a:solidFill>
              <a:srgbClr val="F2EED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 sz="1800"/>
            </a:p>
          </p:txBody>
        </p:sp>
        <p:sp>
          <p:nvSpPr>
            <p:cNvPr id="143" name="ïṡḷîḑê">
              <a:extLst>
                <a:ext uri="{FF2B5EF4-FFF2-40B4-BE49-F238E27FC236}">
                  <a16:creationId xmlns:a16="http://schemas.microsoft.com/office/drawing/2014/main" id="{72872AD8-BCCB-4A9C-90D6-49BC8141F56F}"/>
                </a:ext>
              </a:extLst>
            </p:cNvPr>
            <p:cNvSpPr/>
            <p:nvPr/>
          </p:nvSpPr>
          <p:spPr>
            <a:xfrm>
              <a:off x="3758088" y="1439322"/>
              <a:ext cx="916781" cy="1589714"/>
            </a:xfrm>
            <a:custGeom>
              <a:avLst/>
              <a:gdLst>
                <a:gd name="connsiteX0" fmla="*/ 615601 w 916781"/>
                <a:gd name="connsiteY0" fmla="*/ 0 h 1589714"/>
                <a:gd name="connsiteX1" fmla="*/ 360712 w 916781"/>
                <a:gd name="connsiteY1" fmla="*/ 718566 h 1589714"/>
                <a:gd name="connsiteX2" fmla="*/ 0 w 916781"/>
                <a:gd name="connsiteY2" fmla="*/ 1588675 h 1589714"/>
                <a:gd name="connsiteX3" fmla="*/ 916781 w 916781"/>
                <a:gd name="connsiteY3" fmla="*/ 431483 h 1589714"/>
                <a:gd name="connsiteX4" fmla="*/ 615601 w 916781"/>
                <a:gd name="connsiteY4" fmla="*/ 0 h 1589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16781" h="1589714">
                  <a:moveTo>
                    <a:pt x="615601" y="0"/>
                  </a:moveTo>
                  <a:cubicBezTo>
                    <a:pt x="615601" y="0"/>
                    <a:pt x="984694" y="657606"/>
                    <a:pt x="360712" y="718566"/>
                  </a:cubicBezTo>
                  <a:lnTo>
                    <a:pt x="0" y="1588675"/>
                  </a:lnTo>
                  <a:cubicBezTo>
                    <a:pt x="0" y="1588675"/>
                    <a:pt x="877443" y="1668399"/>
                    <a:pt x="916781" y="431483"/>
                  </a:cubicBezTo>
                  <a:cubicBezTo>
                    <a:pt x="916781" y="431387"/>
                    <a:pt x="848963" y="182213"/>
                    <a:pt x="615601" y="0"/>
                  </a:cubicBezTo>
                  <a:close/>
                </a:path>
              </a:pathLst>
            </a:custGeom>
            <a:solidFill>
              <a:srgbClr val="F2EED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 sz="1800"/>
            </a:p>
          </p:txBody>
        </p:sp>
        <p:sp>
          <p:nvSpPr>
            <p:cNvPr id="144" name="iSḻiḋê">
              <a:extLst>
                <a:ext uri="{FF2B5EF4-FFF2-40B4-BE49-F238E27FC236}">
                  <a16:creationId xmlns:a16="http://schemas.microsoft.com/office/drawing/2014/main" id="{96DD2B9A-5D8A-42FC-A144-8AFBEC996021}"/>
                </a:ext>
              </a:extLst>
            </p:cNvPr>
            <p:cNvSpPr/>
            <p:nvPr/>
          </p:nvSpPr>
          <p:spPr>
            <a:xfrm>
              <a:off x="3452430" y="2119407"/>
              <a:ext cx="646556" cy="351853"/>
            </a:xfrm>
            <a:custGeom>
              <a:avLst/>
              <a:gdLst>
                <a:gd name="connsiteX0" fmla="*/ 323279 w 646556"/>
                <a:gd name="connsiteY0" fmla="*/ 351854 h 351853"/>
                <a:gd name="connsiteX1" fmla="*/ 0 w 646556"/>
                <a:gd name="connsiteY1" fmla="*/ 28575 h 351853"/>
                <a:gd name="connsiteX2" fmla="*/ 28575 w 646556"/>
                <a:gd name="connsiteY2" fmla="*/ 0 h 351853"/>
                <a:gd name="connsiteX3" fmla="*/ 57150 w 646556"/>
                <a:gd name="connsiteY3" fmla="*/ 28575 h 351853"/>
                <a:gd name="connsiteX4" fmla="*/ 323279 w 646556"/>
                <a:gd name="connsiteY4" fmla="*/ 294704 h 351853"/>
                <a:gd name="connsiteX5" fmla="*/ 589407 w 646556"/>
                <a:gd name="connsiteY5" fmla="*/ 28575 h 351853"/>
                <a:gd name="connsiteX6" fmla="*/ 617982 w 646556"/>
                <a:gd name="connsiteY6" fmla="*/ 0 h 351853"/>
                <a:gd name="connsiteX7" fmla="*/ 646557 w 646556"/>
                <a:gd name="connsiteY7" fmla="*/ 28575 h 351853"/>
                <a:gd name="connsiteX8" fmla="*/ 323279 w 646556"/>
                <a:gd name="connsiteY8" fmla="*/ 351854 h 3518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646556" h="351853">
                  <a:moveTo>
                    <a:pt x="323279" y="351854"/>
                  </a:moveTo>
                  <a:cubicBezTo>
                    <a:pt x="145066" y="351854"/>
                    <a:pt x="0" y="206883"/>
                    <a:pt x="0" y="28575"/>
                  </a:cubicBezTo>
                  <a:cubicBezTo>
                    <a:pt x="0" y="12764"/>
                    <a:pt x="12764" y="0"/>
                    <a:pt x="28575" y="0"/>
                  </a:cubicBezTo>
                  <a:cubicBezTo>
                    <a:pt x="44387" y="0"/>
                    <a:pt x="57150" y="12764"/>
                    <a:pt x="57150" y="28575"/>
                  </a:cubicBezTo>
                  <a:cubicBezTo>
                    <a:pt x="57150" y="175260"/>
                    <a:pt x="176498" y="294704"/>
                    <a:pt x="323279" y="294704"/>
                  </a:cubicBezTo>
                  <a:cubicBezTo>
                    <a:pt x="470059" y="294704"/>
                    <a:pt x="589407" y="175355"/>
                    <a:pt x="589407" y="28575"/>
                  </a:cubicBezTo>
                  <a:cubicBezTo>
                    <a:pt x="589407" y="12764"/>
                    <a:pt x="602170" y="0"/>
                    <a:pt x="617982" y="0"/>
                  </a:cubicBezTo>
                  <a:cubicBezTo>
                    <a:pt x="633794" y="0"/>
                    <a:pt x="646557" y="12764"/>
                    <a:pt x="646557" y="28575"/>
                  </a:cubicBezTo>
                  <a:cubicBezTo>
                    <a:pt x="646557" y="206883"/>
                    <a:pt x="501491" y="351854"/>
                    <a:pt x="323279" y="351854"/>
                  </a:cubicBezTo>
                  <a:close/>
                </a:path>
              </a:pathLst>
            </a:custGeom>
            <a:solidFill>
              <a:srgbClr val="88382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 sz="1800"/>
            </a:p>
          </p:txBody>
        </p:sp>
        <p:sp>
          <p:nvSpPr>
            <p:cNvPr id="145" name="íś1iďè">
              <a:extLst>
                <a:ext uri="{FF2B5EF4-FFF2-40B4-BE49-F238E27FC236}">
                  <a16:creationId xmlns:a16="http://schemas.microsoft.com/office/drawing/2014/main" id="{4C32A6FA-E2C4-4E2B-8AC9-7669895AFA29}"/>
                </a:ext>
              </a:extLst>
            </p:cNvPr>
            <p:cNvSpPr/>
            <p:nvPr/>
          </p:nvSpPr>
          <p:spPr>
            <a:xfrm>
              <a:off x="3158299" y="1861185"/>
              <a:ext cx="218312" cy="218313"/>
            </a:xfrm>
            <a:custGeom>
              <a:avLst/>
              <a:gdLst>
                <a:gd name="connsiteX0" fmla="*/ 218313 w 218312"/>
                <a:gd name="connsiteY0" fmla="*/ 109156 h 218313"/>
                <a:gd name="connsiteX1" fmla="*/ 109156 w 218312"/>
                <a:gd name="connsiteY1" fmla="*/ 218313 h 218313"/>
                <a:gd name="connsiteX2" fmla="*/ 0 w 218312"/>
                <a:gd name="connsiteY2" fmla="*/ 109156 h 218313"/>
                <a:gd name="connsiteX3" fmla="*/ 109156 w 218312"/>
                <a:gd name="connsiteY3" fmla="*/ 0 h 218313"/>
                <a:gd name="connsiteX4" fmla="*/ 218313 w 218312"/>
                <a:gd name="connsiteY4" fmla="*/ 109156 h 2183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18312" h="218313">
                  <a:moveTo>
                    <a:pt x="218313" y="109156"/>
                  </a:moveTo>
                  <a:cubicBezTo>
                    <a:pt x="218313" y="169450"/>
                    <a:pt x="169450" y="218313"/>
                    <a:pt x="109156" y="218313"/>
                  </a:cubicBezTo>
                  <a:cubicBezTo>
                    <a:pt x="48863" y="218313"/>
                    <a:pt x="0" y="169450"/>
                    <a:pt x="0" y="109156"/>
                  </a:cubicBezTo>
                  <a:cubicBezTo>
                    <a:pt x="0" y="48863"/>
                    <a:pt x="48863" y="0"/>
                    <a:pt x="109156" y="0"/>
                  </a:cubicBezTo>
                  <a:cubicBezTo>
                    <a:pt x="169450" y="0"/>
                    <a:pt x="218313" y="48863"/>
                    <a:pt x="218313" y="109156"/>
                  </a:cubicBezTo>
                  <a:close/>
                </a:path>
              </a:pathLst>
            </a:custGeom>
            <a:solidFill>
              <a:srgbClr val="F5898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 sz="1800"/>
            </a:p>
          </p:txBody>
        </p:sp>
        <p:sp>
          <p:nvSpPr>
            <p:cNvPr id="146" name="íšlïdé">
              <a:extLst>
                <a:ext uri="{FF2B5EF4-FFF2-40B4-BE49-F238E27FC236}">
                  <a16:creationId xmlns:a16="http://schemas.microsoft.com/office/drawing/2014/main" id="{16246511-C5B7-4234-8C48-4E8A5C7D32DB}"/>
                </a:ext>
              </a:extLst>
            </p:cNvPr>
            <p:cNvSpPr/>
            <p:nvPr/>
          </p:nvSpPr>
          <p:spPr>
            <a:xfrm>
              <a:off x="4165758" y="1861185"/>
              <a:ext cx="218312" cy="218313"/>
            </a:xfrm>
            <a:custGeom>
              <a:avLst/>
              <a:gdLst>
                <a:gd name="connsiteX0" fmla="*/ 218313 w 218312"/>
                <a:gd name="connsiteY0" fmla="*/ 109156 h 218313"/>
                <a:gd name="connsiteX1" fmla="*/ 109156 w 218312"/>
                <a:gd name="connsiteY1" fmla="*/ 218313 h 218313"/>
                <a:gd name="connsiteX2" fmla="*/ 0 w 218312"/>
                <a:gd name="connsiteY2" fmla="*/ 109156 h 218313"/>
                <a:gd name="connsiteX3" fmla="*/ 109156 w 218312"/>
                <a:gd name="connsiteY3" fmla="*/ 0 h 218313"/>
                <a:gd name="connsiteX4" fmla="*/ 218313 w 218312"/>
                <a:gd name="connsiteY4" fmla="*/ 109156 h 2183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18312" h="218313">
                  <a:moveTo>
                    <a:pt x="218313" y="109156"/>
                  </a:moveTo>
                  <a:cubicBezTo>
                    <a:pt x="218313" y="169450"/>
                    <a:pt x="169450" y="218313"/>
                    <a:pt x="109156" y="218313"/>
                  </a:cubicBezTo>
                  <a:cubicBezTo>
                    <a:pt x="48863" y="218313"/>
                    <a:pt x="0" y="169450"/>
                    <a:pt x="0" y="109156"/>
                  </a:cubicBezTo>
                  <a:cubicBezTo>
                    <a:pt x="0" y="48863"/>
                    <a:pt x="48863" y="0"/>
                    <a:pt x="109156" y="0"/>
                  </a:cubicBezTo>
                  <a:cubicBezTo>
                    <a:pt x="169354" y="0"/>
                    <a:pt x="218313" y="48863"/>
                    <a:pt x="218313" y="109156"/>
                  </a:cubicBezTo>
                  <a:close/>
                </a:path>
              </a:pathLst>
            </a:custGeom>
            <a:solidFill>
              <a:srgbClr val="F5898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 sz="1800"/>
            </a:p>
          </p:txBody>
        </p:sp>
        <p:sp>
          <p:nvSpPr>
            <p:cNvPr id="147" name="ï$1ïḑê">
              <a:extLst>
                <a:ext uri="{FF2B5EF4-FFF2-40B4-BE49-F238E27FC236}">
                  <a16:creationId xmlns:a16="http://schemas.microsoft.com/office/drawing/2014/main" id="{B5BC188A-B999-40B6-B4AB-1FA4588C7681}"/>
                </a:ext>
              </a:extLst>
            </p:cNvPr>
            <p:cNvSpPr/>
            <p:nvPr/>
          </p:nvSpPr>
          <p:spPr>
            <a:xfrm>
              <a:off x="3544918" y="1355883"/>
              <a:ext cx="210502" cy="723614"/>
            </a:xfrm>
            <a:custGeom>
              <a:avLst/>
              <a:gdLst>
                <a:gd name="connsiteX0" fmla="*/ 194500 w 210502"/>
                <a:gd name="connsiteY0" fmla="*/ 0 h 723614"/>
                <a:gd name="connsiteX1" fmla="*/ 210502 w 210502"/>
                <a:gd name="connsiteY1" fmla="*/ 723614 h 723614"/>
                <a:gd name="connsiteX2" fmla="*/ 0 w 210502"/>
                <a:gd name="connsiteY2" fmla="*/ 723614 h 7236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10502" h="723614">
                  <a:moveTo>
                    <a:pt x="194500" y="0"/>
                  </a:moveTo>
                  <a:lnTo>
                    <a:pt x="210502" y="723614"/>
                  </a:lnTo>
                  <a:lnTo>
                    <a:pt x="0" y="723614"/>
                  </a:lnTo>
                  <a:close/>
                </a:path>
              </a:pathLst>
            </a:custGeom>
            <a:solidFill>
              <a:srgbClr val="B53A3C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 sz="1800"/>
            </a:p>
          </p:txBody>
        </p:sp>
        <p:sp>
          <p:nvSpPr>
            <p:cNvPr id="148" name="íŝḻïdê">
              <a:extLst>
                <a:ext uri="{FF2B5EF4-FFF2-40B4-BE49-F238E27FC236}">
                  <a16:creationId xmlns:a16="http://schemas.microsoft.com/office/drawing/2014/main" id="{A6247121-DF78-45EB-89E3-D930DE4EDA7D}"/>
                </a:ext>
              </a:extLst>
            </p:cNvPr>
            <p:cNvSpPr/>
            <p:nvPr/>
          </p:nvSpPr>
          <p:spPr>
            <a:xfrm>
              <a:off x="3833812" y="1625727"/>
              <a:ext cx="157924" cy="428624"/>
            </a:xfrm>
            <a:custGeom>
              <a:avLst/>
              <a:gdLst>
                <a:gd name="connsiteX0" fmla="*/ 0 w 157924"/>
                <a:gd name="connsiteY0" fmla="*/ 0 h 428624"/>
                <a:gd name="connsiteX1" fmla="*/ 157925 w 157924"/>
                <a:gd name="connsiteY1" fmla="*/ 428625 h 428624"/>
                <a:gd name="connsiteX2" fmla="*/ 0 w 157924"/>
                <a:gd name="connsiteY2" fmla="*/ 0 h 4286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57924" h="428624">
                  <a:moveTo>
                    <a:pt x="0" y="0"/>
                  </a:moveTo>
                  <a:lnTo>
                    <a:pt x="157925" y="428625"/>
                  </a:lnTo>
                  <a:cubicBezTo>
                    <a:pt x="157925" y="428625"/>
                    <a:pt x="25432" y="254032"/>
                    <a:pt x="0" y="0"/>
                  </a:cubicBezTo>
                  <a:close/>
                </a:path>
              </a:pathLst>
            </a:custGeom>
            <a:solidFill>
              <a:srgbClr val="F2EED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 sz="1800"/>
            </a:p>
          </p:txBody>
        </p:sp>
        <p:sp>
          <p:nvSpPr>
            <p:cNvPr id="149" name="íṩ1íḋê">
              <a:extLst>
                <a:ext uri="{FF2B5EF4-FFF2-40B4-BE49-F238E27FC236}">
                  <a16:creationId xmlns:a16="http://schemas.microsoft.com/office/drawing/2014/main" id="{39288327-71BE-4377-B26E-07E435D23396}"/>
                </a:ext>
              </a:extLst>
            </p:cNvPr>
            <p:cNvSpPr/>
            <p:nvPr/>
          </p:nvSpPr>
          <p:spPr>
            <a:xfrm>
              <a:off x="3117436" y="1261322"/>
              <a:ext cx="1208531" cy="204765"/>
            </a:xfrm>
            <a:custGeom>
              <a:avLst/>
              <a:gdLst>
                <a:gd name="connsiteX0" fmla="*/ 1208532 w 1208531"/>
                <a:gd name="connsiteY0" fmla="*/ 168476 h 204765"/>
                <a:gd name="connsiteX1" fmla="*/ 0 w 1208531"/>
                <a:gd name="connsiteY1" fmla="*/ 204766 h 204765"/>
                <a:gd name="connsiteX2" fmla="*/ 1208532 w 1208531"/>
                <a:gd name="connsiteY2" fmla="*/ 168476 h 2047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08531" h="204765">
                  <a:moveTo>
                    <a:pt x="1208532" y="168476"/>
                  </a:moveTo>
                  <a:cubicBezTo>
                    <a:pt x="1208532" y="168476"/>
                    <a:pt x="775907" y="-116798"/>
                    <a:pt x="0" y="204766"/>
                  </a:cubicBezTo>
                  <a:cubicBezTo>
                    <a:pt x="0" y="204766"/>
                    <a:pt x="729044" y="-230717"/>
                    <a:pt x="1208532" y="168476"/>
                  </a:cubicBezTo>
                  <a:close/>
                </a:path>
              </a:pathLst>
            </a:custGeom>
            <a:solidFill>
              <a:srgbClr val="E1A889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 sz="1800"/>
            </a:p>
          </p:txBody>
        </p:sp>
        <p:grpSp>
          <p:nvGrpSpPr>
            <p:cNvPr id="150" name="图形 5">
              <a:extLst>
                <a:ext uri="{FF2B5EF4-FFF2-40B4-BE49-F238E27FC236}">
                  <a16:creationId xmlns:a16="http://schemas.microsoft.com/office/drawing/2014/main" id="{A3987041-F05C-4192-9DDD-E00B776936D8}"/>
                </a:ext>
              </a:extLst>
            </p:cNvPr>
            <p:cNvGrpSpPr/>
            <p:nvPr/>
          </p:nvGrpSpPr>
          <p:grpSpPr>
            <a:xfrm>
              <a:off x="3930681" y="1341310"/>
              <a:ext cx="753468" cy="1174813"/>
              <a:chOff x="3930681" y="1341310"/>
              <a:chExt cx="753468" cy="1174813"/>
            </a:xfrm>
            <a:solidFill>
              <a:srgbClr val="F2EED7">
                <a:alpha val="50000"/>
              </a:srgbClr>
            </a:solidFill>
          </p:grpSpPr>
          <p:sp>
            <p:nvSpPr>
              <p:cNvPr id="156" name="ïš1ïḍé">
                <a:extLst>
                  <a:ext uri="{FF2B5EF4-FFF2-40B4-BE49-F238E27FC236}">
                    <a16:creationId xmlns:a16="http://schemas.microsoft.com/office/drawing/2014/main" id="{A1801F9B-5446-4443-A8C3-165AD2265C39}"/>
                  </a:ext>
                </a:extLst>
              </p:cNvPr>
              <p:cNvSpPr/>
              <p:nvPr/>
            </p:nvSpPr>
            <p:spPr>
              <a:xfrm>
                <a:off x="4069082" y="1388843"/>
                <a:ext cx="615066" cy="1127280"/>
              </a:xfrm>
              <a:custGeom>
                <a:avLst/>
                <a:gdLst>
                  <a:gd name="connsiteX0" fmla="*/ 521205 w 615066"/>
                  <a:gd name="connsiteY0" fmla="*/ 1127280 h 1127280"/>
                  <a:gd name="connsiteX1" fmla="*/ 506346 w 615066"/>
                  <a:gd name="connsiteY1" fmla="*/ 1124613 h 1127280"/>
                  <a:gd name="connsiteX2" fmla="*/ 481009 w 615066"/>
                  <a:gd name="connsiteY2" fmla="*/ 1069559 h 1127280"/>
                  <a:gd name="connsiteX3" fmla="*/ 458816 w 615066"/>
                  <a:gd name="connsiteY3" fmla="*/ 482438 h 1127280"/>
                  <a:gd name="connsiteX4" fmla="*/ 28000 w 615066"/>
                  <a:gd name="connsiteY4" fmla="*/ 83054 h 1127280"/>
                  <a:gd name="connsiteX5" fmla="*/ 2663 w 615066"/>
                  <a:gd name="connsiteY5" fmla="*/ 28000 h 1127280"/>
                  <a:gd name="connsiteX6" fmla="*/ 57718 w 615066"/>
                  <a:gd name="connsiteY6" fmla="*/ 2663 h 1127280"/>
                  <a:gd name="connsiteX7" fmla="*/ 536730 w 615066"/>
                  <a:gd name="connsiteY7" fmla="*/ 446719 h 1127280"/>
                  <a:gd name="connsiteX8" fmla="*/ 561400 w 615066"/>
                  <a:gd name="connsiteY8" fmla="*/ 1099372 h 1127280"/>
                  <a:gd name="connsiteX9" fmla="*/ 521205 w 615066"/>
                  <a:gd name="connsiteY9" fmla="*/ 1127280 h 11272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615066" h="1127280">
                    <a:moveTo>
                      <a:pt x="521205" y="1127280"/>
                    </a:moveTo>
                    <a:cubicBezTo>
                      <a:pt x="516251" y="1127280"/>
                      <a:pt x="511203" y="1126423"/>
                      <a:pt x="506346" y="1124613"/>
                    </a:cubicBezTo>
                    <a:cubicBezTo>
                      <a:pt x="484152" y="1116422"/>
                      <a:pt x="472818" y="1091752"/>
                      <a:pt x="481009" y="1069559"/>
                    </a:cubicBezTo>
                    <a:cubicBezTo>
                      <a:pt x="552256" y="877249"/>
                      <a:pt x="544350" y="668747"/>
                      <a:pt x="458816" y="482438"/>
                    </a:cubicBezTo>
                    <a:cubicBezTo>
                      <a:pt x="373281" y="296129"/>
                      <a:pt x="220215" y="154206"/>
                      <a:pt x="28000" y="83054"/>
                    </a:cubicBezTo>
                    <a:cubicBezTo>
                      <a:pt x="5807" y="74863"/>
                      <a:pt x="-5528" y="50193"/>
                      <a:pt x="2663" y="28000"/>
                    </a:cubicBezTo>
                    <a:cubicBezTo>
                      <a:pt x="10855" y="5807"/>
                      <a:pt x="35525" y="-5528"/>
                      <a:pt x="57718" y="2663"/>
                    </a:cubicBezTo>
                    <a:cubicBezTo>
                      <a:pt x="271459" y="81912"/>
                      <a:pt x="441576" y="239550"/>
                      <a:pt x="536730" y="446719"/>
                    </a:cubicBezTo>
                    <a:cubicBezTo>
                      <a:pt x="631885" y="653888"/>
                      <a:pt x="640648" y="885631"/>
                      <a:pt x="561400" y="1099372"/>
                    </a:cubicBezTo>
                    <a:cubicBezTo>
                      <a:pt x="554923" y="1116612"/>
                      <a:pt x="538540" y="1127280"/>
                      <a:pt x="521205" y="1127280"/>
                    </a:cubicBezTo>
                    <a:close/>
                  </a:path>
                </a:pathLst>
              </a:custGeom>
              <a:solidFill>
                <a:srgbClr val="F2EED7">
                  <a:alpha val="50000"/>
                </a:srgbClr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 sz="1800"/>
              </a:p>
            </p:txBody>
          </p:sp>
          <p:sp>
            <p:nvSpPr>
              <p:cNvPr id="157" name="ï$ḷiḑè">
                <a:extLst>
                  <a:ext uri="{FF2B5EF4-FFF2-40B4-BE49-F238E27FC236}">
                    <a16:creationId xmlns:a16="http://schemas.microsoft.com/office/drawing/2014/main" id="{0A7BCCAA-960D-4BFE-B631-7267922092DD}"/>
                  </a:ext>
                </a:extLst>
              </p:cNvPr>
              <p:cNvSpPr/>
              <p:nvPr/>
            </p:nvSpPr>
            <p:spPr>
              <a:xfrm>
                <a:off x="3930681" y="1341310"/>
                <a:ext cx="99821" cy="99822"/>
              </a:xfrm>
              <a:custGeom>
                <a:avLst/>
                <a:gdLst>
                  <a:gd name="connsiteX0" fmla="*/ 99822 w 99821"/>
                  <a:gd name="connsiteY0" fmla="*/ 49911 h 99822"/>
                  <a:gd name="connsiteX1" fmla="*/ 49911 w 99821"/>
                  <a:gd name="connsiteY1" fmla="*/ 99822 h 99822"/>
                  <a:gd name="connsiteX2" fmla="*/ 0 w 99821"/>
                  <a:gd name="connsiteY2" fmla="*/ 49911 h 99822"/>
                  <a:gd name="connsiteX3" fmla="*/ 49911 w 99821"/>
                  <a:gd name="connsiteY3" fmla="*/ 0 h 99822"/>
                  <a:gd name="connsiteX4" fmla="*/ 99822 w 99821"/>
                  <a:gd name="connsiteY4" fmla="*/ 49911 h 998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99821" h="99822">
                    <a:moveTo>
                      <a:pt x="99822" y="49911"/>
                    </a:moveTo>
                    <a:cubicBezTo>
                      <a:pt x="99822" y="77438"/>
                      <a:pt x="77438" y="99822"/>
                      <a:pt x="49911" y="99822"/>
                    </a:cubicBezTo>
                    <a:cubicBezTo>
                      <a:pt x="22384" y="99822"/>
                      <a:pt x="0" y="77438"/>
                      <a:pt x="0" y="49911"/>
                    </a:cubicBezTo>
                    <a:cubicBezTo>
                      <a:pt x="0" y="22384"/>
                      <a:pt x="22384" y="0"/>
                      <a:pt x="49911" y="0"/>
                    </a:cubicBezTo>
                    <a:cubicBezTo>
                      <a:pt x="77438" y="0"/>
                      <a:pt x="99822" y="22289"/>
                      <a:pt x="99822" y="49911"/>
                    </a:cubicBezTo>
                    <a:close/>
                  </a:path>
                </a:pathLst>
              </a:custGeom>
              <a:solidFill>
                <a:srgbClr val="F2EED7">
                  <a:alpha val="50000"/>
                </a:srgbClr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 sz="1800"/>
              </a:p>
            </p:txBody>
          </p:sp>
        </p:grpSp>
        <p:sp>
          <p:nvSpPr>
            <p:cNvPr id="151" name="išliḑè">
              <a:extLst>
                <a:ext uri="{FF2B5EF4-FFF2-40B4-BE49-F238E27FC236}">
                  <a16:creationId xmlns:a16="http://schemas.microsoft.com/office/drawing/2014/main" id="{C27593FE-255F-4670-A5D2-1F4301FDDD35}"/>
                </a:ext>
              </a:extLst>
            </p:cNvPr>
            <p:cNvSpPr/>
            <p:nvPr/>
          </p:nvSpPr>
          <p:spPr>
            <a:xfrm>
              <a:off x="3056000" y="2546508"/>
              <a:ext cx="1421511" cy="451890"/>
            </a:xfrm>
            <a:custGeom>
              <a:avLst/>
              <a:gdLst>
                <a:gd name="connsiteX0" fmla="*/ 1421511 w 1421511"/>
                <a:gd name="connsiteY0" fmla="*/ 0 h 451890"/>
                <a:gd name="connsiteX1" fmla="*/ 0 w 1421511"/>
                <a:gd name="connsiteY1" fmla="*/ 47625 h 451890"/>
                <a:gd name="connsiteX2" fmla="*/ 1421511 w 1421511"/>
                <a:gd name="connsiteY2" fmla="*/ 0 h 4518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421511" h="451890">
                  <a:moveTo>
                    <a:pt x="1421511" y="0"/>
                  </a:moveTo>
                  <a:cubicBezTo>
                    <a:pt x="1421511" y="0"/>
                    <a:pt x="824484" y="984218"/>
                    <a:pt x="0" y="47625"/>
                  </a:cubicBezTo>
                  <a:cubicBezTo>
                    <a:pt x="-95" y="47625"/>
                    <a:pt x="714756" y="703231"/>
                    <a:pt x="1421511" y="0"/>
                  </a:cubicBezTo>
                  <a:close/>
                </a:path>
              </a:pathLst>
            </a:custGeom>
            <a:solidFill>
              <a:srgbClr val="EEDEA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 sz="1800"/>
            </a:p>
          </p:txBody>
        </p:sp>
        <p:sp>
          <p:nvSpPr>
            <p:cNvPr id="152" name="ïśľiḑé">
              <a:extLst>
                <a:ext uri="{FF2B5EF4-FFF2-40B4-BE49-F238E27FC236}">
                  <a16:creationId xmlns:a16="http://schemas.microsoft.com/office/drawing/2014/main" id="{8641E3EC-43ED-48F9-BE29-7B8FA92E13ED}"/>
                </a:ext>
              </a:extLst>
            </p:cNvPr>
            <p:cNvSpPr/>
            <p:nvPr/>
          </p:nvSpPr>
          <p:spPr>
            <a:xfrm>
              <a:off x="2777108" y="1345311"/>
              <a:ext cx="1607153" cy="1817369"/>
            </a:xfrm>
            <a:custGeom>
              <a:avLst/>
              <a:gdLst>
                <a:gd name="connsiteX0" fmla="*/ 157163 w 1607153"/>
                <a:gd name="connsiteY0" fmla="*/ 733139 h 1817369"/>
                <a:gd name="connsiteX1" fmla="*/ 494633 w 1607153"/>
                <a:gd name="connsiteY1" fmla="*/ 0 h 1817369"/>
                <a:gd name="connsiteX2" fmla="*/ 0 w 1607153"/>
                <a:gd name="connsiteY2" fmla="*/ 842581 h 1817369"/>
                <a:gd name="connsiteX3" fmla="*/ 974789 w 1607153"/>
                <a:gd name="connsiteY3" fmla="*/ 1817370 h 1817369"/>
                <a:gd name="connsiteX4" fmla="*/ 1607153 w 1607153"/>
                <a:gd name="connsiteY4" fmla="*/ 1584389 h 1817369"/>
                <a:gd name="connsiteX5" fmla="*/ 1131951 w 1607153"/>
                <a:gd name="connsiteY5" fmla="*/ 1707928 h 1817369"/>
                <a:gd name="connsiteX6" fmla="*/ 157163 w 1607153"/>
                <a:gd name="connsiteY6" fmla="*/ 733139 h 18173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607153" h="1817369">
                  <a:moveTo>
                    <a:pt x="157163" y="733139"/>
                  </a:moveTo>
                  <a:cubicBezTo>
                    <a:pt x="157163" y="436150"/>
                    <a:pt x="195929" y="156591"/>
                    <a:pt x="494633" y="0"/>
                  </a:cubicBezTo>
                  <a:cubicBezTo>
                    <a:pt x="196596" y="166783"/>
                    <a:pt x="0" y="476726"/>
                    <a:pt x="0" y="842581"/>
                  </a:cubicBezTo>
                  <a:cubicBezTo>
                    <a:pt x="0" y="1380935"/>
                    <a:pt x="436435" y="1817370"/>
                    <a:pt x="974789" y="1817370"/>
                  </a:cubicBezTo>
                  <a:cubicBezTo>
                    <a:pt x="1216152" y="1817370"/>
                    <a:pt x="1436942" y="1729645"/>
                    <a:pt x="1607153" y="1584389"/>
                  </a:cubicBezTo>
                  <a:cubicBezTo>
                    <a:pt x="1466564" y="1663065"/>
                    <a:pt x="1304449" y="1707928"/>
                    <a:pt x="1131951" y="1707928"/>
                  </a:cubicBezTo>
                  <a:cubicBezTo>
                    <a:pt x="593598" y="1707832"/>
                    <a:pt x="157163" y="1271492"/>
                    <a:pt x="157163" y="733139"/>
                  </a:cubicBezTo>
                  <a:close/>
                </a:path>
              </a:pathLst>
            </a:custGeom>
            <a:solidFill>
              <a:srgbClr val="773020">
                <a:alpha val="20000"/>
              </a:srgb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 sz="1800"/>
            </a:p>
          </p:txBody>
        </p:sp>
        <p:sp>
          <p:nvSpPr>
            <p:cNvPr id="153" name="ïṣ1iḓé">
              <a:extLst>
                <a:ext uri="{FF2B5EF4-FFF2-40B4-BE49-F238E27FC236}">
                  <a16:creationId xmlns:a16="http://schemas.microsoft.com/office/drawing/2014/main" id="{E907FE76-A5F1-4487-A13B-E41E38326A7B}"/>
                </a:ext>
              </a:extLst>
            </p:cNvPr>
            <p:cNvSpPr/>
            <p:nvPr/>
          </p:nvSpPr>
          <p:spPr>
            <a:xfrm>
              <a:off x="2963893" y="771442"/>
              <a:ext cx="1406842" cy="667784"/>
            </a:xfrm>
            <a:custGeom>
              <a:avLst/>
              <a:gdLst>
                <a:gd name="connsiteX0" fmla="*/ 1406843 w 1406842"/>
                <a:gd name="connsiteY0" fmla="*/ 657402 h 667784"/>
                <a:gd name="connsiteX1" fmla="*/ 660368 w 1406842"/>
                <a:gd name="connsiteY1" fmla="*/ 177 h 667784"/>
                <a:gd name="connsiteX2" fmla="*/ 0 w 1406842"/>
                <a:gd name="connsiteY2" fmla="*/ 525005 h 667784"/>
                <a:gd name="connsiteX3" fmla="*/ 393668 w 1406842"/>
                <a:gd name="connsiteY3" fmla="*/ 298596 h 667784"/>
                <a:gd name="connsiteX4" fmla="*/ 167164 w 1406842"/>
                <a:gd name="connsiteY4" fmla="*/ 667785 h 667784"/>
                <a:gd name="connsiteX5" fmla="*/ 1406843 w 1406842"/>
                <a:gd name="connsiteY5" fmla="*/ 657402 h 6677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406842" h="667784">
                  <a:moveTo>
                    <a:pt x="1406843" y="657402"/>
                  </a:moveTo>
                  <a:cubicBezTo>
                    <a:pt x="1406843" y="657402"/>
                    <a:pt x="971550" y="-12491"/>
                    <a:pt x="660368" y="177"/>
                  </a:cubicBezTo>
                  <a:cubicBezTo>
                    <a:pt x="349187" y="12846"/>
                    <a:pt x="0" y="525005"/>
                    <a:pt x="0" y="525005"/>
                  </a:cubicBezTo>
                  <a:cubicBezTo>
                    <a:pt x="0" y="525005"/>
                    <a:pt x="409575" y="231921"/>
                    <a:pt x="393668" y="298596"/>
                  </a:cubicBezTo>
                  <a:cubicBezTo>
                    <a:pt x="377762" y="365271"/>
                    <a:pt x="167164" y="667785"/>
                    <a:pt x="167164" y="667785"/>
                  </a:cubicBezTo>
                  <a:cubicBezTo>
                    <a:pt x="167164" y="667785"/>
                    <a:pt x="864203" y="219252"/>
                    <a:pt x="1406843" y="657402"/>
                  </a:cubicBezTo>
                  <a:close/>
                </a:path>
              </a:pathLst>
            </a:custGeom>
            <a:solidFill>
              <a:srgbClr val="CD3C4C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 sz="1800"/>
            </a:p>
          </p:txBody>
        </p:sp>
        <p:sp>
          <p:nvSpPr>
            <p:cNvPr id="154" name="íşļíďe">
              <a:extLst>
                <a:ext uri="{FF2B5EF4-FFF2-40B4-BE49-F238E27FC236}">
                  <a16:creationId xmlns:a16="http://schemas.microsoft.com/office/drawing/2014/main" id="{9E45021E-AE89-48DA-822D-649ADB5610FF}"/>
                </a:ext>
              </a:extLst>
            </p:cNvPr>
            <p:cNvSpPr/>
            <p:nvPr/>
          </p:nvSpPr>
          <p:spPr>
            <a:xfrm>
              <a:off x="2881312" y="1213008"/>
              <a:ext cx="174593" cy="174688"/>
            </a:xfrm>
            <a:custGeom>
              <a:avLst/>
              <a:gdLst>
                <a:gd name="connsiteX0" fmla="*/ 174593 w 174593"/>
                <a:gd name="connsiteY0" fmla="*/ 87344 h 174688"/>
                <a:gd name="connsiteX1" fmla="*/ 87249 w 174593"/>
                <a:gd name="connsiteY1" fmla="*/ 174689 h 174688"/>
                <a:gd name="connsiteX2" fmla="*/ 0 w 174593"/>
                <a:gd name="connsiteY2" fmla="*/ 87344 h 174688"/>
                <a:gd name="connsiteX3" fmla="*/ 87344 w 174593"/>
                <a:gd name="connsiteY3" fmla="*/ 0 h 174688"/>
                <a:gd name="connsiteX4" fmla="*/ 174593 w 174593"/>
                <a:gd name="connsiteY4" fmla="*/ 87344 h 1746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4593" h="174688">
                  <a:moveTo>
                    <a:pt x="174593" y="87344"/>
                  </a:moveTo>
                  <a:cubicBezTo>
                    <a:pt x="174593" y="135541"/>
                    <a:pt x="135446" y="174689"/>
                    <a:pt x="87249" y="174689"/>
                  </a:cubicBezTo>
                  <a:cubicBezTo>
                    <a:pt x="39052" y="174689"/>
                    <a:pt x="0" y="135636"/>
                    <a:pt x="0" y="87344"/>
                  </a:cubicBezTo>
                  <a:cubicBezTo>
                    <a:pt x="0" y="39053"/>
                    <a:pt x="39052" y="0"/>
                    <a:pt x="87344" y="0"/>
                  </a:cubicBezTo>
                  <a:cubicBezTo>
                    <a:pt x="135636" y="0"/>
                    <a:pt x="174593" y="39148"/>
                    <a:pt x="174593" y="87344"/>
                  </a:cubicBezTo>
                  <a:close/>
                </a:path>
              </a:pathLst>
            </a:custGeom>
            <a:solidFill>
              <a:srgbClr val="F2EED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 sz="1800"/>
            </a:p>
          </p:txBody>
        </p:sp>
        <p:sp>
          <p:nvSpPr>
            <p:cNvPr id="155" name="íşḷîďè">
              <a:extLst>
                <a:ext uri="{FF2B5EF4-FFF2-40B4-BE49-F238E27FC236}">
                  <a16:creationId xmlns:a16="http://schemas.microsoft.com/office/drawing/2014/main" id="{74C13E71-33F0-4294-8186-9C6DCE61B627}"/>
                </a:ext>
              </a:extLst>
            </p:cNvPr>
            <p:cNvSpPr/>
            <p:nvPr/>
          </p:nvSpPr>
          <p:spPr>
            <a:xfrm>
              <a:off x="3110674" y="1114660"/>
              <a:ext cx="1273397" cy="341330"/>
            </a:xfrm>
            <a:custGeom>
              <a:avLst/>
              <a:gdLst>
                <a:gd name="connsiteX0" fmla="*/ 1118235 w 1273397"/>
                <a:gd name="connsiteY0" fmla="*/ 118636 h 341330"/>
                <a:gd name="connsiteX1" fmla="*/ 102108 w 1273397"/>
                <a:gd name="connsiteY1" fmla="*/ 203980 h 341330"/>
                <a:gd name="connsiteX2" fmla="*/ 0 w 1273397"/>
                <a:gd name="connsiteY2" fmla="*/ 341331 h 341330"/>
                <a:gd name="connsiteX3" fmla="*/ 1273397 w 1273397"/>
                <a:gd name="connsiteY3" fmla="*/ 324662 h 341330"/>
                <a:gd name="connsiteX4" fmla="*/ 1118235 w 1273397"/>
                <a:gd name="connsiteY4" fmla="*/ 118636 h 3413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73397" h="341330">
                  <a:moveTo>
                    <a:pt x="1118235" y="118636"/>
                  </a:moveTo>
                  <a:cubicBezTo>
                    <a:pt x="1118235" y="118636"/>
                    <a:pt x="665417" y="-198356"/>
                    <a:pt x="102108" y="203980"/>
                  </a:cubicBezTo>
                  <a:lnTo>
                    <a:pt x="0" y="341331"/>
                  </a:lnTo>
                  <a:cubicBezTo>
                    <a:pt x="0" y="341331"/>
                    <a:pt x="710470" y="-114345"/>
                    <a:pt x="1273397" y="324662"/>
                  </a:cubicBezTo>
                  <a:lnTo>
                    <a:pt x="1118235" y="118636"/>
                  </a:lnTo>
                  <a:close/>
                </a:path>
              </a:pathLst>
            </a:custGeom>
            <a:solidFill>
              <a:srgbClr val="F2EED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 sz="1800"/>
            </a:p>
          </p:txBody>
        </p:sp>
      </p:grpSp>
      <p:sp>
        <p:nvSpPr>
          <p:cNvPr id="9801" name="副标题 9800"/>
          <p:cNvSpPr>
            <a:spLocks noGrp="1"/>
          </p:cNvSpPr>
          <p:nvPr userDrawn="1">
            <p:ph type="subTitle" idx="1" hasCustomPrompt="1"/>
          </p:nvPr>
        </p:nvSpPr>
        <p:spPr>
          <a:xfrm>
            <a:off x="2509391" y="2051253"/>
            <a:ext cx="7024656" cy="558799"/>
          </a:xfrm>
        </p:spPr>
        <p:txBody>
          <a:bodyPr anchor="t">
            <a:normAutofit/>
          </a:bodyPr>
          <a:lstStyle>
            <a:lvl1pPr marL="0" indent="0" algn="ctr">
              <a:buNone/>
              <a:defRPr sz="1600">
                <a:solidFill>
                  <a:schemeClr val="bg1"/>
                </a:solidFill>
              </a:defRPr>
            </a:lvl1pPr>
            <a:lvl2pPr marL="457155" indent="0" algn="ctr">
              <a:buNone/>
              <a:defRPr sz="2000"/>
            </a:lvl2pPr>
            <a:lvl3pPr marL="914309" indent="0" algn="ctr">
              <a:buNone/>
              <a:defRPr sz="1800"/>
            </a:lvl3pPr>
            <a:lvl4pPr marL="1371464" indent="0" algn="ctr">
              <a:buNone/>
              <a:defRPr sz="1600"/>
            </a:lvl4pPr>
            <a:lvl5pPr marL="1828618" indent="0" algn="ctr">
              <a:buNone/>
              <a:defRPr sz="1600"/>
            </a:lvl5pPr>
            <a:lvl6pPr marL="2285774" indent="0" algn="ctr">
              <a:buNone/>
              <a:defRPr sz="1600"/>
            </a:lvl6pPr>
            <a:lvl7pPr marL="2742926" indent="0" algn="ctr">
              <a:buNone/>
              <a:defRPr sz="1600"/>
            </a:lvl7pPr>
            <a:lvl8pPr marL="3200080" indent="0" algn="ctr">
              <a:buNone/>
              <a:defRPr sz="1600"/>
            </a:lvl8pPr>
            <a:lvl9pPr marL="3657235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9802" name="标题 9801"/>
          <p:cNvSpPr>
            <a:spLocks noGrp="1"/>
          </p:cNvSpPr>
          <p:nvPr userDrawn="1">
            <p:ph type="ctrTitle" hasCustomPrompt="1"/>
          </p:nvPr>
        </p:nvSpPr>
        <p:spPr>
          <a:xfrm>
            <a:off x="2509391" y="800002"/>
            <a:ext cx="7024656" cy="1251248"/>
          </a:xfrm>
        </p:spPr>
        <p:txBody>
          <a:bodyPr anchor="b">
            <a:normAutofit/>
          </a:bodyPr>
          <a:lstStyle>
            <a:lvl1pPr algn="ctr"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12" name="文本占位符 11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2509391" y="3562630"/>
            <a:ext cx="7024656" cy="296271"/>
          </a:xfrm>
        </p:spPr>
        <p:txBody>
          <a:bodyPr vert="horz" anchor="ctr">
            <a:noAutofit/>
          </a:bodyPr>
          <a:lstStyle>
            <a:lvl1pPr marL="0" indent="0" algn="ctr">
              <a:buNone/>
              <a:defRPr sz="1400" b="0">
                <a:solidFill>
                  <a:schemeClr val="bg1"/>
                </a:solidFill>
              </a:defRPr>
            </a:lvl1pPr>
            <a:lvl2pPr marL="457155" indent="0">
              <a:buNone/>
              <a:defRPr/>
            </a:lvl2pPr>
            <a:lvl3pPr marL="914308" indent="0">
              <a:buNone/>
              <a:defRPr/>
            </a:lvl3pPr>
            <a:lvl4pPr marL="1371462" indent="0">
              <a:buNone/>
              <a:defRPr/>
            </a:lvl4pPr>
            <a:lvl5pPr marL="1828618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  <p:sp>
        <p:nvSpPr>
          <p:cNvPr id="13" name="文本占位符 12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2509391" y="3858904"/>
            <a:ext cx="7024656" cy="296271"/>
          </a:xfrm>
        </p:spPr>
        <p:txBody>
          <a:bodyPr vert="horz" anchor="ctr">
            <a:noAutofit/>
          </a:bodyPr>
          <a:lstStyle>
            <a:lvl1pPr marL="0" indent="0" algn="ctr">
              <a:buNone/>
              <a:defRPr sz="1400" b="0">
                <a:solidFill>
                  <a:schemeClr val="bg1"/>
                </a:solidFill>
              </a:defRPr>
            </a:lvl1pPr>
            <a:lvl2pPr marL="457155" indent="0">
              <a:buNone/>
              <a:defRPr/>
            </a:lvl2pPr>
            <a:lvl3pPr marL="914308" indent="0">
              <a:buNone/>
              <a:defRPr/>
            </a:lvl3pPr>
            <a:lvl4pPr marL="1371462" indent="0">
              <a:buNone/>
              <a:defRPr/>
            </a:lvl4pPr>
            <a:lvl5pPr marL="1828618" indent="0">
              <a:buNone/>
              <a:defRPr/>
            </a:lvl5pPr>
          </a:lstStyle>
          <a:p>
            <a:pPr lvl="0"/>
            <a:r>
              <a:rPr lang="en-US" altLang="zh-CN" dirty="0"/>
              <a:t>Date</a:t>
            </a:r>
            <a:endParaRPr lang="zh-CN" altLang="en-US" dirty="0"/>
          </a:p>
        </p:txBody>
      </p:sp>
      <p:pic>
        <p:nvPicPr>
          <p:cNvPr id="2" name="图形 1">
            <a:extLst>
              <a:ext uri="{FF2B5EF4-FFF2-40B4-BE49-F238E27FC236}">
                <a16:creationId xmlns:a16="http://schemas.microsoft.com/office/drawing/2014/main" id="{170A5EE2-E869-4980-9333-654CB69B904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xmlns:p14="http://schemas.microsoft.com/office/powerpoint/2010/main" xmlns:a16="http://schemas.microsoft.com/office/drawing/2014/main" xmlns="" r:embed="rId3"/>
              </a:ext>
            </a:extLst>
          </a:blip>
          <a:stretch>
            <a:fillRect/>
          </a:stretch>
        </p:blipFill>
        <p:spPr>
          <a:xfrm>
            <a:off x="2609851" y="176216"/>
            <a:ext cx="6972300" cy="65055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8258688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 userDrawn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íSḻîḍé">
            <a:extLst>
              <a:ext uri="{FF2B5EF4-FFF2-40B4-BE49-F238E27FC236}">
                <a16:creationId xmlns:a16="http://schemas.microsoft.com/office/drawing/2014/main" id="{616F9937-0579-4A53-8D14-496316C71EFD}"/>
              </a:ext>
            </a:extLst>
          </p:cNvPr>
          <p:cNvSpPr/>
          <p:nvPr userDrawn="1"/>
        </p:nvSpPr>
        <p:spPr>
          <a:xfrm>
            <a:off x="3" y="2412338"/>
            <a:ext cx="2577247" cy="4445662"/>
          </a:xfrm>
          <a:custGeom>
            <a:avLst/>
            <a:gdLst>
              <a:gd name="connsiteX0" fmla="*/ 0 w 2577247"/>
              <a:gd name="connsiteY0" fmla="*/ 0 h 4445662"/>
              <a:gd name="connsiteX1" fmla="*/ 2462932 w 2577247"/>
              <a:gd name="connsiteY1" fmla="*/ 1468986 h 4445662"/>
              <a:gd name="connsiteX2" fmla="*/ 2544139 w 2577247"/>
              <a:gd name="connsiteY2" fmla="*/ 1790228 h 4445662"/>
              <a:gd name="connsiteX3" fmla="*/ 960337 w 2577247"/>
              <a:gd name="connsiteY3" fmla="*/ 4445662 h 4445662"/>
              <a:gd name="connsiteX4" fmla="*/ 0 w 2577247"/>
              <a:gd name="connsiteY4" fmla="*/ 4445662 h 44456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77247" h="4445662">
                <a:moveTo>
                  <a:pt x="0" y="0"/>
                </a:moveTo>
                <a:lnTo>
                  <a:pt x="2462932" y="1468986"/>
                </a:lnTo>
                <a:cubicBezTo>
                  <a:pt x="2574065" y="1535270"/>
                  <a:pt x="2610422" y="1679095"/>
                  <a:pt x="2544139" y="1790228"/>
                </a:cubicBezTo>
                <a:lnTo>
                  <a:pt x="960337" y="4445662"/>
                </a:lnTo>
                <a:lnTo>
                  <a:pt x="0" y="4445662"/>
                </a:lnTo>
                <a:close/>
              </a:path>
            </a:pathLst>
          </a:cu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800"/>
          </a:p>
        </p:txBody>
      </p:sp>
      <p:sp>
        <p:nvSpPr>
          <p:cNvPr id="20" name="标题 19"/>
          <p:cNvSpPr>
            <a:spLocks noGrp="1"/>
          </p:cNvSpPr>
          <p:nvPr userDrawn="1">
            <p:ph type="title"/>
          </p:nvPr>
        </p:nvSpPr>
        <p:spPr>
          <a:xfrm>
            <a:off x="5052764" y="2533650"/>
            <a:ext cx="4563959" cy="895350"/>
          </a:xfrm>
        </p:spPr>
        <p:txBody>
          <a:bodyPr anchor="b">
            <a:normAutofit/>
          </a:bodyPr>
          <a:lstStyle>
            <a:lvl1pPr algn="l">
              <a:defRPr sz="24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21" name="文本占位符 20"/>
          <p:cNvSpPr>
            <a:spLocks noGrp="1"/>
          </p:cNvSpPr>
          <p:nvPr userDrawn="1">
            <p:ph type="body" idx="1"/>
          </p:nvPr>
        </p:nvSpPr>
        <p:spPr>
          <a:xfrm>
            <a:off x="5053881" y="3429004"/>
            <a:ext cx="4563959" cy="1015623"/>
          </a:xfrm>
        </p:spPr>
        <p:txBody>
          <a:bodyPr anchor="t">
            <a:normAutofit/>
          </a:bodyPr>
          <a:lstStyle>
            <a:lvl1pPr marL="0" indent="0" algn="l">
              <a:lnSpc>
                <a:spcPct val="150000"/>
              </a:lnSpc>
              <a:spcBef>
                <a:spcPts val="0"/>
              </a:spcBef>
              <a:buNone/>
              <a:defRPr sz="1100">
                <a:solidFill>
                  <a:schemeClr val="tx1"/>
                </a:solidFill>
              </a:defRPr>
            </a:lvl1pPr>
            <a:lvl2pPr marL="457155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09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46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61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77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292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08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235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grpSp>
        <p:nvGrpSpPr>
          <p:cNvPr id="6" name="图形 5">
            <a:extLst>
              <a:ext uri="{FF2B5EF4-FFF2-40B4-BE49-F238E27FC236}">
                <a16:creationId xmlns:a16="http://schemas.microsoft.com/office/drawing/2014/main" id="{E63C57C8-60EF-4DC6-BB8A-68A15325C7BB}"/>
              </a:ext>
            </a:extLst>
          </p:cNvPr>
          <p:cNvGrpSpPr/>
          <p:nvPr userDrawn="1"/>
        </p:nvGrpSpPr>
        <p:grpSpPr>
          <a:xfrm rot="2446481">
            <a:off x="-66872" y="965796"/>
            <a:ext cx="5092559" cy="5162593"/>
            <a:chOff x="2376890" y="771442"/>
            <a:chExt cx="2757091" cy="2795007"/>
          </a:xfrm>
          <a:solidFill>
            <a:schemeClr val="accent1"/>
          </a:solidFill>
        </p:grpSpPr>
        <p:sp>
          <p:nvSpPr>
            <p:cNvPr id="7" name="iṣḷíḑè">
              <a:extLst>
                <a:ext uri="{FF2B5EF4-FFF2-40B4-BE49-F238E27FC236}">
                  <a16:creationId xmlns:a16="http://schemas.microsoft.com/office/drawing/2014/main" id="{90DA8FC7-0916-424B-BA13-9BE73D4603D9}"/>
                </a:ext>
              </a:extLst>
            </p:cNvPr>
            <p:cNvSpPr/>
            <p:nvPr/>
          </p:nvSpPr>
          <p:spPr>
            <a:xfrm>
              <a:off x="2586037" y="1642205"/>
              <a:ext cx="295275" cy="295275"/>
            </a:xfrm>
            <a:custGeom>
              <a:avLst/>
              <a:gdLst>
                <a:gd name="connsiteX0" fmla="*/ 295275 w 295275"/>
                <a:gd name="connsiteY0" fmla="*/ 147638 h 295275"/>
                <a:gd name="connsiteX1" fmla="*/ 147638 w 295275"/>
                <a:gd name="connsiteY1" fmla="*/ 295275 h 295275"/>
                <a:gd name="connsiteX2" fmla="*/ 0 w 295275"/>
                <a:gd name="connsiteY2" fmla="*/ 147638 h 295275"/>
                <a:gd name="connsiteX3" fmla="*/ 147638 w 295275"/>
                <a:gd name="connsiteY3" fmla="*/ 0 h 295275"/>
                <a:gd name="connsiteX4" fmla="*/ 295275 w 295275"/>
                <a:gd name="connsiteY4" fmla="*/ 147638 h 295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95275" h="295275">
                  <a:moveTo>
                    <a:pt x="295275" y="147638"/>
                  </a:moveTo>
                  <a:cubicBezTo>
                    <a:pt x="295275" y="229176"/>
                    <a:pt x="229175" y="295275"/>
                    <a:pt x="147638" y="295275"/>
                  </a:cubicBezTo>
                  <a:cubicBezTo>
                    <a:pt x="66100" y="295275"/>
                    <a:pt x="0" y="229176"/>
                    <a:pt x="0" y="147638"/>
                  </a:cubicBezTo>
                  <a:cubicBezTo>
                    <a:pt x="0" y="66100"/>
                    <a:pt x="66100" y="0"/>
                    <a:pt x="147638" y="0"/>
                  </a:cubicBezTo>
                  <a:cubicBezTo>
                    <a:pt x="229175" y="0"/>
                    <a:pt x="295275" y="66100"/>
                    <a:pt x="295275" y="147638"/>
                  </a:cubicBezTo>
                  <a:close/>
                </a:path>
              </a:pathLst>
            </a:custGeom>
            <a:solidFill>
              <a:srgbClr val="E7BB9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 sz="1800"/>
            </a:p>
          </p:txBody>
        </p:sp>
        <p:sp>
          <p:nvSpPr>
            <p:cNvPr id="9" name="ïṧ1îḋé">
              <a:extLst>
                <a:ext uri="{FF2B5EF4-FFF2-40B4-BE49-F238E27FC236}">
                  <a16:creationId xmlns:a16="http://schemas.microsoft.com/office/drawing/2014/main" id="{B53063F9-8AFD-423E-83F3-D5DEF1B3DCB1}"/>
                </a:ext>
              </a:extLst>
            </p:cNvPr>
            <p:cNvSpPr/>
            <p:nvPr/>
          </p:nvSpPr>
          <p:spPr>
            <a:xfrm>
              <a:off x="4630768" y="1642205"/>
              <a:ext cx="295275" cy="295275"/>
            </a:xfrm>
            <a:custGeom>
              <a:avLst/>
              <a:gdLst>
                <a:gd name="connsiteX0" fmla="*/ 295275 w 295275"/>
                <a:gd name="connsiteY0" fmla="*/ 147638 h 295275"/>
                <a:gd name="connsiteX1" fmla="*/ 147637 w 295275"/>
                <a:gd name="connsiteY1" fmla="*/ 295275 h 295275"/>
                <a:gd name="connsiteX2" fmla="*/ 0 w 295275"/>
                <a:gd name="connsiteY2" fmla="*/ 147638 h 295275"/>
                <a:gd name="connsiteX3" fmla="*/ 147637 w 295275"/>
                <a:gd name="connsiteY3" fmla="*/ 0 h 295275"/>
                <a:gd name="connsiteX4" fmla="*/ 295275 w 295275"/>
                <a:gd name="connsiteY4" fmla="*/ 147638 h 2952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95275" h="295275">
                  <a:moveTo>
                    <a:pt x="295275" y="147638"/>
                  </a:moveTo>
                  <a:cubicBezTo>
                    <a:pt x="295275" y="229176"/>
                    <a:pt x="229175" y="295275"/>
                    <a:pt x="147637" y="295275"/>
                  </a:cubicBezTo>
                  <a:cubicBezTo>
                    <a:pt x="66100" y="295275"/>
                    <a:pt x="0" y="229176"/>
                    <a:pt x="0" y="147638"/>
                  </a:cubicBezTo>
                  <a:cubicBezTo>
                    <a:pt x="0" y="66100"/>
                    <a:pt x="66100" y="0"/>
                    <a:pt x="147637" y="0"/>
                  </a:cubicBezTo>
                  <a:cubicBezTo>
                    <a:pt x="229175" y="0"/>
                    <a:pt x="295275" y="66100"/>
                    <a:pt x="295275" y="147638"/>
                  </a:cubicBezTo>
                  <a:close/>
                </a:path>
              </a:pathLst>
            </a:custGeom>
            <a:solidFill>
              <a:srgbClr val="E7BB9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 sz="1800"/>
            </a:p>
          </p:txBody>
        </p:sp>
        <p:sp>
          <p:nvSpPr>
            <p:cNvPr id="10" name="îsļîḑe">
              <a:extLst>
                <a:ext uri="{FF2B5EF4-FFF2-40B4-BE49-F238E27FC236}">
                  <a16:creationId xmlns:a16="http://schemas.microsoft.com/office/drawing/2014/main" id="{BA938723-16E8-4DA7-A1A0-8839D937E5A7}"/>
                </a:ext>
              </a:extLst>
            </p:cNvPr>
            <p:cNvSpPr/>
            <p:nvPr/>
          </p:nvSpPr>
          <p:spPr>
            <a:xfrm>
              <a:off x="2710242" y="1673637"/>
              <a:ext cx="108852" cy="251841"/>
            </a:xfrm>
            <a:custGeom>
              <a:avLst/>
              <a:gdLst>
                <a:gd name="connsiteX0" fmla="*/ 58198 w 108852"/>
                <a:gd name="connsiteY0" fmla="*/ 251841 h 251841"/>
                <a:gd name="connsiteX1" fmla="*/ 44196 w 108852"/>
                <a:gd name="connsiteY1" fmla="*/ 238982 h 251841"/>
                <a:gd name="connsiteX2" fmla="*/ 88392 w 108852"/>
                <a:gd name="connsiteY2" fmla="*/ 125158 h 251841"/>
                <a:gd name="connsiteX3" fmla="*/ 0 w 108852"/>
                <a:gd name="connsiteY3" fmla="*/ 16859 h 251841"/>
                <a:gd name="connsiteX4" fmla="*/ 8953 w 108852"/>
                <a:gd name="connsiteY4" fmla="*/ 0 h 251841"/>
                <a:gd name="connsiteX5" fmla="*/ 107156 w 108852"/>
                <a:gd name="connsiteY5" fmla="*/ 121825 h 251841"/>
                <a:gd name="connsiteX6" fmla="*/ 58198 w 108852"/>
                <a:gd name="connsiteY6" fmla="*/ 251841 h 2518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8852" h="251841">
                  <a:moveTo>
                    <a:pt x="58198" y="251841"/>
                  </a:moveTo>
                  <a:lnTo>
                    <a:pt x="44196" y="238982"/>
                  </a:lnTo>
                  <a:cubicBezTo>
                    <a:pt x="79820" y="200311"/>
                    <a:pt x="94678" y="162020"/>
                    <a:pt x="88392" y="125158"/>
                  </a:cubicBezTo>
                  <a:cubicBezTo>
                    <a:pt x="77152" y="58769"/>
                    <a:pt x="762" y="17240"/>
                    <a:pt x="0" y="16859"/>
                  </a:cubicBezTo>
                  <a:lnTo>
                    <a:pt x="8953" y="0"/>
                  </a:lnTo>
                  <a:cubicBezTo>
                    <a:pt x="12478" y="1810"/>
                    <a:pt x="94202" y="46196"/>
                    <a:pt x="107156" y="121825"/>
                  </a:cubicBezTo>
                  <a:cubicBezTo>
                    <a:pt x="114490" y="164783"/>
                    <a:pt x="98012" y="208598"/>
                    <a:pt x="58198" y="251841"/>
                  </a:cubicBezTo>
                  <a:close/>
                </a:path>
              </a:pathLst>
            </a:custGeom>
            <a:solidFill>
              <a:srgbClr val="D4927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 sz="1800"/>
            </a:p>
          </p:txBody>
        </p:sp>
        <p:sp>
          <p:nvSpPr>
            <p:cNvPr id="12" name="íšľïďé">
              <a:extLst>
                <a:ext uri="{FF2B5EF4-FFF2-40B4-BE49-F238E27FC236}">
                  <a16:creationId xmlns:a16="http://schemas.microsoft.com/office/drawing/2014/main" id="{C814FE4A-6D11-44AE-BB4C-77672B76C07C}"/>
                </a:ext>
              </a:extLst>
            </p:cNvPr>
            <p:cNvSpPr/>
            <p:nvPr/>
          </p:nvSpPr>
          <p:spPr>
            <a:xfrm>
              <a:off x="2715040" y="1729168"/>
              <a:ext cx="79498" cy="155162"/>
            </a:xfrm>
            <a:custGeom>
              <a:avLst/>
              <a:gdLst>
                <a:gd name="connsiteX0" fmla="*/ 69021 w 79498"/>
                <a:gd name="connsiteY0" fmla="*/ 155162 h 155162"/>
                <a:gd name="connsiteX1" fmla="*/ 251 w 79498"/>
                <a:gd name="connsiteY1" fmla="*/ 61531 h 155162"/>
                <a:gd name="connsiteX2" fmla="*/ 55591 w 79498"/>
                <a:gd name="connsiteY2" fmla="*/ 0 h 155162"/>
                <a:gd name="connsiteX3" fmla="*/ 62735 w 79498"/>
                <a:gd name="connsiteY3" fmla="*/ 17717 h 155162"/>
                <a:gd name="connsiteX4" fmla="*/ 19205 w 79498"/>
                <a:gd name="connsiteY4" fmla="*/ 63532 h 155162"/>
                <a:gd name="connsiteX5" fmla="*/ 79499 w 79498"/>
                <a:gd name="connsiteY5" fmla="*/ 139256 h 155162"/>
                <a:gd name="connsiteX6" fmla="*/ 69021 w 79498"/>
                <a:gd name="connsiteY6" fmla="*/ 155162 h 1551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9498" h="155162">
                  <a:moveTo>
                    <a:pt x="69021" y="155162"/>
                  </a:moveTo>
                  <a:cubicBezTo>
                    <a:pt x="20444" y="123254"/>
                    <a:pt x="-2702" y="91726"/>
                    <a:pt x="251" y="61531"/>
                  </a:cubicBezTo>
                  <a:cubicBezTo>
                    <a:pt x="4251" y="21146"/>
                    <a:pt x="53495" y="857"/>
                    <a:pt x="55591" y="0"/>
                  </a:cubicBezTo>
                  <a:lnTo>
                    <a:pt x="62735" y="17717"/>
                  </a:lnTo>
                  <a:cubicBezTo>
                    <a:pt x="62354" y="17907"/>
                    <a:pt x="22063" y="34576"/>
                    <a:pt x="19205" y="63532"/>
                  </a:cubicBezTo>
                  <a:cubicBezTo>
                    <a:pt x="17015" y="85725"/>
                    <a:pt x="37874" y="111919"/>
                    <a:pt x="79499" y="139256"/>
                  </a:cubicBezTo>
                  <a:lnTo>
                    <a:pt x="69021" y="155162"/>
                  </a:lnTo>
                  <a:close/>
                </a:path>
              </a:pathLst>
            </a:custGeom>
            <a:solidFill>
              <a:srgbClr val="D4927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 sz="1800"/>
            </a:p>
          </p:txBody>
        </p:sp>
        <p:sp>
          <p:nvSpPr>
            <p:cNvPr id="13" name="iṣḷíḋe">
              <a:extLst>
                <a:ext uri="{FF2B5EF4-FFF2-40B4-BE49-F238E27FC236}">
                  <a16:creationId xmlns:a16="http://schemas.microsoft.com/office/drawing/2014/main" id="{6AF256E6-2AEE-4FBF-8AA7-D60131CD9996}"/>
                </a:ext>
              </a:extLst>
            </p:cNvPr>
            <p:cNvSpPr/>
            <p:nvPr/>
          </p:nvSpPr>
          <p:spPr>
            <a:xfrm>
              <a:off x="4673268" y="1673637"/>
              <a:ext cx="108852" cy="251841"/>
            </a:xfrm>
            <a:custGeom>
              <a:avLst/>
              <a:gdLst>
                <a:gd name="connsiteX0" fmla="*/ 50654 w 108852"/>
                <a:gd name="connsiteY0" fmla="*/ 251841 h 251841"/>
                <a:gd name="connsiteX1" fmla="*/ 1696 w 108852"/>
                <a:gd name="connsiteY1" fmla="*/ 121825 h 251841"/>
                <a:gd name="connsiteX2" fmla="*/ 99899 w 108852"/>
                <a:gd name="connsiteY2" fmla="*/ 0 h 251841"/>
                <a:gd name="connsiteX3" fmla="*/ 108852 w 108852"/>
                <a:gd name="connsiteY3" fmla="*/ 16859 h 251841"/>
                <a:gd name="connsiteX4" fmla="*/ 20460 w 108852"/>
                <a:gd name="connsiteY4" fmla="*/ 125158 h 251841"/>
                <a:gd name="connsiteX5" fmla="*/ 64656 w 108852"/>
                <a:gd name="connsiteY5" fmla="*/ 238982 h 251841"/>
                <a:gd name="connsiteX6" fmla="*/ 50654 w 108852"/>
                <a:gd name="connsiteY6" fmla="*/ 251841 h 2518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08852" h="251841">
                  <a:moveTo>
                    <a:pt x="50654" y="251841"/>
                  </a:moveTo>
                  <a:cubicBezTo>
                    <a:pt x="10840" y="208502"/>
                    <a:pt x="-5638" y="164783"/>
                    <a:pt x="1696" y="121825"/>
                  </a:cubicBezTo>
                  <a:cubicBezTo>
                    <a:pt x="14650" y="46196"/>
                    <a:pt x="96470" y="1905"/>
                    <a:pt x="99899" y="0"/>
                  </a:cubicBezTo>
                  <a:lnTo>
                    <a:pt x="108852" y="16859"/>
                  </a:lnTo>
                  <a:cubicBezTo>
                    <a:pt x="108090" y="17240"/>
                    <a:pt x="31700" y="58769"/>
                    <a:pt x="20460" y="125158"/>
                  </a:cubicBezTo>
                  <a:cubicBezTo>
                    <a:pt x="14174" y="161925"/>
                    <a:pt x="29033" y="200216"/>
                    <a:pt x="64656" y="238982"/>
                  </a:cubicBezTo>
                  <a:lnTo>
                    <a:pt x="50654" y="251841"/>
                  </a:lnTo>
                  <a:close/>
                </a:path>
              </a:pathLst>
            </a:custGeom>
            <a:solidFill>
              <a:srgbClr val="D4927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 sz="1800"/>
            </a:p>
          </p:txBody>
        </p:sp>
        <p:sp>
          <p:nvSpPr>
            <p:cNvPr id="14" name="iṡlïḑè">
              <a:extLst>
                <a:ext uri="{FF2B5EF4-FFF2-40B4-BE49-F238E27FC236}">
                  <a16:creationId xmlns:a16="http://schemas.microsoft.com/office/drawing/2014/main" id="{9F6D78EB-0CC1-4CAB-B22B-3B05FFBC7AAE}"/>
                </a:ext>
              </a:extLst>
            </p:cNvPr>
            <p:cNvSpPr/>
            <p:nvPr/>
          </p:nvSpPr>
          <p:spPr>
            <a:xfrm>
              <a:off x="4697729" y="1729168"/>
              <a:ext cx="79514" cy="155162"/>
            </a:xfrm>
            <a:custGeom>
              <a:avLst/>
              <a:gdLst>
                <a:gd name="connsiteX0" fmla="*/ 10478 w 79514"/>
                <a:gd name="connsiteY0" fmla="*/ 155162 h 155162"/>
                <a:gd name="connsiteX1" fmla="*/ 0 w 79514"/>
                <a:gd name="connsiteY1" fmla="*/ 139256 h 155162"/>
                <a:gd name="connsiteX2" fmla="*/ 60293 w 79514"/>
                <a:gd name="connsiteY2" fmla="*/ 63436 h 155162"/>
                <a:gd name="connsiteX3" fmla="*/ 16764 w 79514"/>
                <a:gd name="connsiteY3" fmla="*/ 17717 h 155162"/>
                <a:gd name="connsiteX4" fmla="*/ 23908 w 79514"/>
                <a:gd name="connsiteY4" fmla="*/ 0 h 155162"/>
                <a:gd name="connsiteX5" fmla="*/ 79248 w 79514"/>
                <a:gd name="connsiteY5" fmla="*/ 61531 h 155162"/>
                <a:gd name="connsiteX6" fmla="*/ 10478 w 79514"/>
                <a:gd name="connsiteY6" fmla="*/ 155162 h 1551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9514" h="155162">
                  <a:moveTo>
                    <a:pt x="10478" y="155162"/>
                  </a:moveTo>
                  <a:lnTo>
                    <a:pt x="0" y="139256"/>
                  </a:lnTo>
                  <a:cubicBezTo>
                    <a:pt x="41624" y="111919"/>
                    <a:pt x="62484" y="85725"/>
                    <a:pt x="60293" y="63436"/>
                  </a:cubicBezTo>
                  <a:cubicBezTo>
                    <a:pt x="57436" y="34861"/>
                    <a:pt x="17145" y="17907"/>
                    <a:pt x="16764" y="17717"/>
                  </a:cubicBezTo>
                  <a:lnTo>
                    <a:pt x="23908" y="0"/>
                  </a:lnTo>
                  <a:cubicBezTo>
                    <a:pt x="26003" y="857"/>
                    <a:pt x="75248" y="21146"/>
                    <a:pt x="79248" y="61531"/>
                  </a:cubicBezTo>
                  <a:cubicBezTo>
                    <a:pt x="82296" y="91631"/>
                    <a:pt x="59150" y="123158"/>
                    <a:pt x="10478" y="155162"/>
                  </a:cubicBezTo>
                  <a:close/>
                </a:path>
              </a:pathLst>
            </a:custGeom>
            <a:solidFill>
              <a:srgbClr val="D4927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 sz="1800"/>
            </a:p>
          </p:txBody>
        </p:sp>
        <p:sp>
          <p:nvSpPr>
            <p:cNvPr id="15" name="isļiḓe">
              <a:extLst>
                <a:ext uri="{FF2B5EF4-FFF2-40B4-BE49-F238E27FC236}">
                  <a16:creationId xmlns:a16="http://schemas.microsoft.com/office/drawing/2014/main" id="{4DE49326-BF36-415A-B385-218ECF0C6239}"/>
                </a:ext>
              </a:extLst>
            </p:cNvPr>
            <p:cNvSpPr/>
            <p:nvPr/>
          </p:nvSpPr>
          <p:spPr>
            <a:xfrm rot="-2700000">
              <a:off x="2780657" y="1213124"/>
              <a:ext cx="1949558" cy="1949558"/>
            </a:xfrm>
            <a:custGeom>
              <a:avLst/>
              <a:gdLst>
                <a:gd name="connsiteX0" fmla="*/ 1949558 w 1949558"/>
                <a:gd name="connsiteY0" fmla="*/ 974779 h 1949558"/>
                <a:gd name="connsiteX1" fmla="*/ 974779 w 1949558"/>
                <a:gd name="connsiteY1" fmla="*/ 1949558 h 1949558"/>
                <a:gd name="connsiteX2" fmla="*/ 0 w 1949558"/>
                <a:gd name="connsiteY2" fmla="*/ 974779 h 1949558"/>
                <a:gd name="connsiteX3" fmla="*/ 974779 w 1949558"/>
                <a:gd name="connsiteY3" fmla="*/ 0 h 1949558"/>
                <a:gd name="connsiteX4" fmla="*/ 1949558 w 1949558"/>
                <a:gd name="connsiteY4" fmla="*/ 974779 h 19495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49558" h="1949558">
                  <a:moveTo>
                    <a:pt x="1949558" y="974779"/>
                  </a:moveTo>
                  <a:cubicBezTo>
                    <a:pt x="1949558" y="1513135"/>
                    <a:pt x="1513135" y="1949558"/>
                    <a:pt x="974779" y="1949558"/>
                  </a:cubicBezTo>
                  <a:cubicBezTo>
                    <a:pt x="436424" y="1949558"/>
                    <a:pt x="0" y="1513135"/>
                    <a:pt x="0" y="974779"/>
                  </a:cubicBezTo>
                  <a:cubicBezTo>
                    <a:pt x="0" y="436423"/>
                    <a:pt x="436424" y="0"/>
                    <a:pt x="974779" y="0"/>
                  </a:cubicBezTo>
                  <a:cubicBezTo>
                    <a:pt x="1513135" y="0"/>
                    <a:pt x="1949558" y="436423"/>
                    <a:pt x="1949558" y="974779"/>
                  </a:cubicBezTo>
                  <a:close/>
                </a:path>
              </a:pathLst>
            </a:custGeom>
            <a:solidFill>
              <a:srgbClr val="CD3C4C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 sz="1800"/>
            </a:p>
          </p:txBody>
        </p:sp>
        <p:sp>
          <p:nvSpPr>
            <p:cNvPr id="16" name="iśḷïďê">
              <a:extLst>
                <a:ext uri="{FF2B5EF4-FFF2-40B4-BE49-F238E27FC236}">
                  <a16:creationId xmlns:a16="http://schemas.microsoft.com/office/drawing/2014/main" id="{89F56230-5C9D-47DE-A067-378D724A2B3E}"/>
                </a:ext>
              </a:extLst>
            </p:cNvPr>
            <p:cNvSpPr/>
            <p:nvPr/>
          </p:nvSpPr>
          <p:spPr>
            <a:xfrm>
              <a:off x="2920174" y="1213008"/>
              <a:ext cx="1670494" cy="1333500"/>
            </a:xfrm>
            <a:custGeom>
              <a:avLst/>
              <a:gdLst>
                <a:gd name="connsiteX0" fmla="*/ 1670495 w 1670494"/>
                <a:gd name="connsiteY0" fmla="*/ 666750 h 1333500"/>
                <a:gd name="connsiteX1" fmla="*/ 835247 w 1670494"/>
                <a:gd name="connsiteY1" fmla="*/ 1333500 h 1333500"/>
                <a:gd name="connsiteX2" fmla="*/ 0 w 1670494"/>
                <a:gd name="connsiteY2" fmla="*/ 666750 h 1333500"/>
                <a:gd name="connsiteX3" fmla="*/ 835247 w 1670494"/>
                <a:gd name="connsiteY3" fmla="*/ 0 h 1333500"/>
                <a:gd name="connsiteX4" fmla="*/ 1670495 w 1670494"/>
                <a:gd name="connsiteY4" fmla="*/ 666750 h 1333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70494" h="1333500">
                  <a:moveTo>
                    <a:pt x="1670495" y="666750"/>
                  </a:moveTo>
                  <a:cubicBezTo>
                    <a:pt x="1670495" y="1034986"/>
                    <a:pt x="1296542" y="1333500"/>
                    <a:pt x="835247" y="1333500"/>
                  </a:cubicBezTo>
                  <a:cubicBezTo>
                    <a:pt x="373953" y="1333500"/>
                    <a:pt x="0" y="1034986"/>
                    <a:pt x="0" y="666750"/>
                  </a:cubicBezTo>
                  <a:cubicBezTo>
                    <a:pt x="0" y="298514"/>
                    <a:pt x="373953" y="0"/>
                    <a:pt x="835247" y="0"/>
                  </a:cubicBezTo>
                  <a:cubicBezTo>
                    <a:pt x="1296542" y="0"/>
                    <a:pt x="1670495" y="298514"/>
                    <a:pt x="1670495" y="666750"/>
                  </a:cubicBezTo>
                  <a:close/>
                </a:path>
              </a:pathLst>
            </a:custGeom>
            <a:solidFill>
              <a:srgbClr val="E7BB9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 sz="1800"/>
            </a:p>
          </p:txBody>
        </p:sp>
        <p:sp>
          <p:nvSpPr>
            <p:cNvPr id="17" name="îṧľîdé">
              <a:extLst>
                <a:ext uri="{FF2B5EF4-FFF2-40B4-BE49-F238E27FC236}">
                  <a16:creationId xmlns:a16="http://schemas.microsoft.com/office/drawing/2014/main" id="{98BF8EB4-3BEB-4BF8-827D-69C3F52E6380}"/>
                </a:ext>
              </a:extLst>
            </p:cNvPr>
            <p:cNvSpPr/>
            <p:nvPr/>
          </p:nvSpPr>
          <p:spPr>
            <a:xfrm>
              <a:off x="3991831" y="1625822"/>
              <a:ext cx="196786" cy="196786"/>
            </a:xfrm>
            <a:custGeom>
              <a:avLst/>
              <a:gdLst>
                <a:gd name="connsiteX0" fmla="*/ 196787 w 196786"/>
                <a:gd name="connsiteY0" fmla="*/ 98393 h 196786"/>
                <a:gd name="connsiteX1" fmla="*/ 98393 w 196786"/>
                <a:gd name="connsiteY1" fmla="*/ 196787 h 196786"/>
                <a:gd name="connsiteX2" fmla="*/ 0 w 196786"/>
                <a:gd name="connsiteY2" fmla="*/ 98393 h 196786"/>
                <a:gd name="connsiteX3" fmla="*/ 98393 w 196786"/>
                <a:gd name="connsiteY3" fmla="*/ 0 h 196786"/>
                <a:gd name="connsiteX4" fmla="*/ 196787 w 196786"/>
                <a:gd name="connsiteY4" fmla="*/ 98393 h 1967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6786" h="196786">
                  <a:moveTo>
                    <a:pt x="196787" y="98393"/>
                  </a:moveTo>
                  <a:cubicBezTo>
                    <a:pt x="196787" y="152781"/>
                    <a:pt x="152686" y="196787"/>
                    <a:pt x="98393" y="196787"/>
                  </a:cubicBezTo>
                  <a:cubicBezTo>
                    <a:pt x="44006" y="196787"/>
                    <a:pt x="0" y="152686"/>
                    <a:pt x="0" y="98393"/>
                  </a:cubicBezTo>
                  <a:cubicBezTo>
                    <a:pt x="0" y="44006"/>
                    <a:pt x="44101" y="0"/>
                    <a:pt x="98393" y="0"/>
                  </a:cubicBezTo>
                  <a:cubicBezTo>
                    <a:pt x="152686" y="-95"/>
                    <a:pt x="196787" y="44006"/>
                    <a:pt x="196787" y="98393"/>
                  </a:cubicBezTo>
                  <a:close/>
                </a:path>
              </a:pathLst>
            </a:custGeom>
            <a:solidFill>
              <a:srgbClr val="7A2A2A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 sz="1800"/>
            </a:p>
          </p:txBody>
        </p:sp>
        <p:sp>
          <p:nvSpPr>
            <p:cNvPr id="18" name="iśḷidê">
              <a:extLst>
                <a:ext uri="{FF2B5EF4-FFF2-40B4-BE49-F238E27FC236}">
                  <a16:creationId xmlns:a16="http://schemas.microsoft.com/office/drawing/2014/main" id="{123A252A-9D52-42E5-8612-2E39DD2676AF}"/>
                </a:ext>
              </a:extLst>
            </p:cNvPr>
            <p:cNvSpPr/>
            <p:nvPr/>
          </p:nvSpPr>
          <p:spPr>
            <a:xfrm>
              <a:off x="3284600" y="1691449"/>
              <a:ext cx="196786" cy="196786"/>
            </a:xfrm>
            <a:custGeom>
              <a:avLst/>
              <a:gdLst>
                <a:gd name="connsiteX0" fmla="*/ 196787 w 196786"/>
                <a:gd name="connsiteY0" fmla="*/ 98393 h 196786"/>
                <a:gd name="connsiteX1" fmla="*/ 98393 w 196786"/>
                <a:gd name="connsiteY1" fmla="*/ 196786 h 196786"/>
                <a:gd name="connsiteX2" fmla="*/ 0 w 196786"/>
                <a:gd name="connsiteY2" fmla="*/ 98393 h 196786"/>
                <a:gd name="connsiteX3" fmla="*/ 98393 w 196786"/>
                <a:gd name="connsiteY3" fmla="*/ 0 h 196786"/>
                <a:gd name="connsiteX4" fmla="*/ 196787 w 196786"/>
                <a:gd name="connsiteY4" fmla="*/ 98393 h 1967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6786" h="196786">
                  <a:moveTo>
                    <a:pt x="196787" y="98393"/>
                  </a:moveTo>
                  <a:cubicBezTo>
                    <a:pt x="196787" y="152781"/>
                    <a:pt x="152686" y="196786"/>
                    <a:pt x="98393" y="196786"/>
                  </a:cubicBezTo>
                  <a:cubicBezTo>
                    <a:pt x="44006" y="196786"/>
                    <a:pt x="0" y="152686"/>
                    <a:pt x="0" y="98393"/>
                  </a:cubicBezTo>
                  <a:cubicBezTo>
                    <a:pt x="0" y="44101"/>
                    <a:pt x="44101" y="0"/>
                    <a:pt x="98393" y="0"/>
                  </a:cubicBezTo>
                  <a:cubicBezTo>
                    <a:pt x="152781" y="0"/>
                    <a:pt x="196787" y="44005"/>
                    <a:pt x="196787" y="98393"/>
                  </a:cubicBezTo>
                  <a:close/>
                </a:path>
              </a:pathLst>
            </a:custGeom>
            <a:solidFill>
              <a:srgbClr val="7A2A2A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 sz="1800"/>
            </a:p>
          </p:txBody>
        </p:sp>
        <p:sp>
          <p:nvSpPr>
            <p:cNvPr id="19" name="îṥļiḍê">
              <a:extLst>
                <a:ext uri="{FF2B5EF4-FFF2-40B4-BE49-F238E27FC236}">
                  <a16:creationId xmlns:a16="http://schemas.microsoft.com/office/drawing/2014/main" id="{DC178874-0D15-4442-B6C4-FF3427B3E251}"/>
                </a:ext>
              </a:extLst>
            </p:cNvPr>
            <p:cNvSpPr/>
            <p:nvPr/>
          </p:nvSpPr>
          <p:spPr>
            <a:xfrm>
              <a:off x="3240499" y="1907285"/>
              <a:ext cx="1120997" cy="1120997"/>
            </a:xfrm>
            <a:custGeom>
              <a:avLst/>
              <a:gdLst>
                <a:gd name="connsiteX0" fmla="*/ 1120997 w 1120997"/>
                <a:gd name="connsiteY0" fmla="*/ 560451 h 1120997"/>
                <a:gd name="connsiteX1" fmla="*/ 560546 w 1120997"/>
                <a:gd name="connsiteY1" fmla="*/ 1120997 h 1120997"/>
                <a:gd name="connsiteX2" fmla="*/ 0 w 1120997"/>
                <a:gd name="connsiteY2" fmla="*/ 560451 h 1120997"/>
                <a:gd name="connsiteX3" fmla="*/ 560546 w 1120997"/>
                <a:gd name="connsiteY3" fmla="*/ 0 h 1120997"/>
                <a:gd name="connsiteX4" fmla="*/ 1120997 w 1120997"/>
                <a:gd name="connsiteY4" fmla="*/ 560451 h 11209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20997" h="1120997">
                  <a:moveTo>
                    <a:pt x="1120997" y="560451"/>
                  </a:moveTo>
                  <a:cubicBezTo>
                    <a:pt x="1120997" y="870014"/>
                    <a:pt x="870109" y="1120997"/>
                    <a:pt x="560546" y="1120997"/>
                  </a:cubicBezTo>
                  <a:cubicBezTo>
                    <a:pt x="250984" y="1120997"/>
                    <a:pt x="0" y="870014"/>
                    <a:pt x="0" y="560451"/>
                  </a:cubicBezTo>
                  <a:cubicBezTo>
                    <a:pt x="0" y="250889"/>
                    <a:pt x="250984" y="0"/>
                    <a:pt x="560546" y="0"/>
                  </a:cubicBezTo>
                  <a:cubicBezTo>
                    <a:pt x="870109" y="0"/>
                    <a:pt x="1120997" y="250889"/>
                    <a:pt x="1120997" y="560451"/>
                  </a:cubicBezTo>
                  <a:close/>
                </a:path>
              </a:pathLst>
            </a:custGeom>
            <a:solidFill>
              <a:srgbClr val="F2EED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 sz="1800"/>
            </a:p>
          </p:txBody>
        </p:sp>
        <p:sp>
          <p:nvSpPr>
            <p:cNvPr id="22" name="íṧľiḑè">
              <a:extLst>
                <a:ext uri="{FF2B5EF4-FFF2-40B4-BE49-F238E27FC236}">
                  <a16:creationId xmlns:a16="http://schemas.microsoft.com/office/drawing/2014/main" id="{A8582689-B19F-436E-8913-B979561F5B5B}"/>
                </a:ext>
              </a:extLst>
            </p:cNvPr>
            <p:cNvSpPr/>
            <p:nvPr/>
          </p:nvSpPr>
          <p:spPr>
            <a:xfrm>
              <a:off x="3509295" y="1296542"/>
              <a:ext cx="580834" cy="824293"/>
            </a:xfrm>
            <a:custGeom>
              <a:avLst/>
              <a:gdLst>
                <a:gd name="connsiteX0" fmla="*/ 228219 w 580834"/>
                <a:gd name="connsiteY0" fmla="*/ 0 h 824293"/>
                <a:gd name="connsiteX1" fmla="*/ 580835 w 580834"/>
                <a:gd name="connsiteY1" fmla="*/ 820293 h 824293"/>
                <a:gd name="connsiteX2" fmla="*/ 0 w 580834"/>
                <a:gd name="connsiteY2" fmla="*/ 824294 h 8242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580834" h="824293">
                  <a:moveTo>
                    <a:pt x="228219" y="0"/>
                  </a:moveTo>
                  <a:lnTo>
                    <a:pt x="580835" y="820293"/>
                  </a:lnTo>
                  <a:lnTo>
                    <a:pt x="0" y="824294"/>
                  </a:lnTo>
                  <a:close/>
                </a:path>
              </a:pathLst>
            </a:custGeom>
            <a:solidFill>
              <a:srgbClr val="CD3C4C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 sz="1800"/>
            </a:p>
          </p:txBody>
        </p:sp>
        <p:sp>
          <p:nvSpPr>
            <p:cNvPr id="23" name="îṡ1iḑé">
              <a:extLst>
                <a:ext uri="{FF2B5EF4-FFF2-40B4-BE49-F238E27FC236}">
                  <a16:creationId xmlns:a16="http://schemas.microsoft.com/office/drawing/2014/main" id="{1470E5A8-07D6-4937-9F1A-B166840A96EE}"/>
                </a:ext>
              </a:extLst>
            </p:cNvPr>
            <p:cNvSpPr/>
            <p:nvPr/>
          </p:nvSpPr>
          <p:spPr>
            <a:xfrm>
              <a:off x="2832987" y="1439322"/>
              <a:ext cx="917290" cy="1588674"/>
            </a:xfrm>
            <a:custGeom>
              <a:avLst/>
              <a:gdLst>
                <a:gd name="connsiteX0" fmla="*/ 301690 w 917290"/>
                <a:gd name="connsiteY0" fmla="*/ 0 h 1588674"/>
                <a:gd name="connsiteX1" fmla="*/ 556579 w 917290"/>
                <a:gd name="connsiteY1" fmla="*/ 718566 h 1588674"/>
                <a:gd name="connsiteX2" fmla="*/ 917291 w 917290"/>
                <a:gd name="connsiteY2" fmla="*/ 1588675 h 1588674"/>
                <a:gd name="connsiteX3" fmla="*/ 509 w 917290"/>
                <a:gd name="connsiteY3" fmla="*/ 431483 h 1588674"/>
                <a:gd name="connsiteX4" fmla="*/ 301690 w 917290"/>
                <a:gd name="connsiteY4" fmla="*/ 0 h 158867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17290" h="1588674">
                  <a:moveTo>
                    <a:pt x="301690" y="0"/>
                  </a:moveTo>
                  <a:cubicBezTo>
                    <a:pt x="301690" y="0"/>
                    <a:pt x="-67309" y="657606"/>
                    <a:pt x="556579" y="718566"/>
                  </a:cubicBezTo>
                  <a:lnTo>
                    <a:pt x="917291" y="1588675"/>
                  </a:lnTo>
                  <a:cubicBezTo>
                    <a:pt x="917291" y="1588675"/>
                    <a:pt x="-25018" y="1545622"/>
                    <a:pt x="509" y="431483"/>
                  </a:cubicBezTo>
                  <a:cubicBezTo>
                    <a:pt x="509" y="431387"/>
                    <a:pt x="68327" y="182213"/>
                    <a:pt x="301690" y="0"/>
                  </a:cubicBezTo>
                  <a:close/>
                </a:path>
              </a:pathLst>
            </a:custGeom>
            <a:solidFill>
              <a:srgbClr val="F2EED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 sz="1800"/>
            </a:p>
          </p:txBody>
        </p:sp>
        <p:sp>
          <p:nvSpPr>
            <p:cNvPr id="24" name="ïṡḷïḓè">
              <a:extLst>
                <a:ext uri="{FF2B5EF4-FFF2-40B4-BE49-F238E27FC236}">
                  <a16:creationId xmlns:a16="http://schemas.microsoft.com/office/drawing/2014/main" id="{D08295CC-B3DC-4960-BBCE-3BD83C112C41}"/>
                </a:ext>
              </a:extLst>
            </p:cNvPr>
            <p:cNvSpPr/>
            <p:nvPr/>
          </p:nvSpPr>
          <p:spPr>
            <a:xfrm>
              <a:off x="3758088" y="1439322"/>
              <a:ext cx="916781" cy="1589714"/>
            </a:xfrm>
            <a:custGeom>
              <a:avLst/>
              <a:gdLst>
                <a:gd name="connsiteX0" fmla="*/ 615601 w 916781"/>
                <a:gd name="connsiteY0" fmla="*/ 0 h 1589714"/>
                <a:gd name="connsiteX1" fmla="*/ 360712 w 916781"/>
                <a:gd name="connsiteY1" fmla="*/ 718566 h 1589714"/>
                <a:gd name="connsiteX2" fmla="*/ 0 w 916781"/>
                <a:gd name="connsiteY2" fmla="*/ 1588675 h 1589714"/>
                <a:gd name="connsiteX3" fmla="*/ 916781 w 916781"/>
                <a:gd name="connsiteY3" fmla="*/ 431483 h 1589714"/>
                <a:gd name="connsiteX4" fmla="*/ 615601 w 916781"/>
                <a:gd name="connsiteY4" fmla="*/ 0 h 15897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16781" h="1589714">
                  <a:moveTo>
                    <a:pt x="615601" y="0"/>
                  </a:moveTo>
                  <a:cubicBezTo>
                    <a:pt x="615601" y="0"/>
                    <a:pt x="984694" y="657606"/>
                    <a:pt x="360712" y="718566"/>
                  </a:cubicBezTo>
                  <a:lnTo>
                    <a:pt x="0" y="1588675"/>
                  </a:lnTo>
                  <a:cubicBezTo>
                    <a:pt x="0" y="1588675"/>
                    <a:pt x="877443" y="1668399"/>
                    <a:pt x="916781" y="431483"/>
                  </a:cubicBezTo>
                  <a:cubicBezTo>
                    <a:pt x="916781" y="431387"/>
                    <a:pt x="848963" y="182213"/>
                    <a:pt x="615601" y="0"/>
                  </a:cubicBezTo>
                  <a:close/>
                </a:path>
              </a:pathLst>
            </a:custGeom>
            <a:solidFill>
              <a:srgbClr val="F2EED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 sz="1800"/>
            </a:p>
          </p:txBody>
        </p:sp>
        <p:sp>
          <p:nvSpPr>
            <p:cNvPr id="25" name="îṩľîḓè">
              <a:extLst>
                <a:ext uri="{FF2B5EF4-FFF2-40B4-BE49-F238E27FC236}">
                  <a16:creationId xmlns:a16="http://schemas.microsoft.com/office/drawing/2014/main" id="{82908230-7479-4ACF-8679-CA4D6F96BE70}"/>
                </a:ext>
              </a:extLst>
            </p:cNvPr>
            <p:cNvSpPr/>
            <p:nvPr/>
          </p:nvSpPr>
          <p:spPr>
            <a:xfrm>
              <a:off x="3452430" y="2119407"/>
              <a:ext cx="646556" cy="351853"/>
            </a:xfrm>
            <a:custGeom>
              <a:avLst/>
              <a:gdLst>
                <a:gd name="connsiteX0" fmla="*/ 323279 w 646556"/>
                <a:gd name="connsiteY0" fmla="*/ 351854 h 351853"/>
                <a:gd name="connsiteX1" fmla="*/ 0 w 646556"/>
                <a:gd name="connsiteY1" fmla="*/ 28575 h 351853"/>
                <a:gd name="connsiteX2" fmla="*/ 28575 w 646556"/>
                <a:gd name="connsiteY2" fmla="*/ 0 h 351853"/>
                <a:gd name="connsiteX3" fmla="*/ 57150 w 646556"/>
                <a:gd name="connsiteY3" fmla="*/ 28575 h 351853"/>
                <a:gd name="connsiteX4" fmla="*/ 323279 w 646556"/>
                <a:gd name="connsiteY4" fmla="*/ 294704 h 351853"/>
                <a:gd name="connsiteX5" fmla="*/ 589407 w 646556"/>
                <a:gd name="connsiteY5" fmla="*/ 28575 h 351853"/>
                <a:gd name="connsiteX6" fmla="*/ 617982 w 646556"/>
                <a:gd name="connsiteY6" fmla="*/ 0 h 351853"/>
                <a:gd name="connsiteX7" fmla="*/ 646557 w 646556"/>
                <a:gd name="connsiteY7" fmla="*/ 28575 h 351853"/>
                <a:gd name="connsiteX8" fmla="*/ 323279 w 646556"/>
                <a:gd name="connsiteY8" fmla="*/ 351854 h 3518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646556" h="351853">
                  <a:moveTo>
                    <a:pt x="323279" y="351854"/>
                  </a:moveTo>
                  <a:cubicBezTo>
                    <a:pt x="145066" y="351854"/>
                    <a:pt x="0" y="206883"/>
                    <a:pt x="0" y="28575"/>
                  </a:cubicBezTo>
                  <a:cubicBezTo>
                    <a:pt x="0" y="12764"/>
                    <a:pt x="12764" y="0"/>
                    <a:pt x="28575" y="0"/>
                  </a:cubicBezTo>
                  <a:cubicBezTo>
                    <a:pt x="44387" y="0"/>
                    <a:pt x="57150" y="12764"/>
                    <a:pt x="57150" y="28575"/>
                  </a:cubicBezTo>
                  <a:cubicBezTo>
                    <a:pt x="57150" y="175260"/>
                    <a:pt x="176498" y="294704"/>
                    <a:pt x="323279" y="294704"/>
                  </a:cubicBezTo>
                  <a:cubicBezTo>
                    <a:pt x="470059" y="294704"/>
                    <a:pt x="589407" y="175355"/>
                    <a:pt x="589407" y="28575"/>
                  </a:cubicBezTo>
                  <a:cubicBezTo>
                    <a:pt x="589407" y="12764"/>
                    <a:pt x="602170" y="0"/>
                    <a:pt x="617982" y="0"/>
                  </a:cubicBezTo>
                  <a:cubicBezTo>
                    <a:pt x="633794" y="0"/>
                    <a:pt x="646557" y="12764"/>
                    <a:pt x="646557" y="28575"/>
                  </a:cubicBezTo>
                  <a:cubicBezTo>
                    <a:pt x="646557" y="206883"/>
                    <a:pt x="501491" y="351854"/>
                    <a:pt x="323279" y="351854"/>
                  </a:cubicBezTo>
                  <a:close/>
                </a:path>
              </a:pathLst>
            </a:custGeom>
            <a:solidFill>
              <a:srgbClr val="88382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 sz="1800"/>
            </a:p>
          </p:txBody>
        </p:sp>
        <p:sp>
          <p:nvSpPr>
            <p:cNvPr id="26" name="îş1îḍè">
              <a:extLst>
                <a:ext uri="{FF2B5EF4-FFF2-40B4-BE49-F238E27FC236}">
                  <a16:creationId xmlns:a16="http://schemas.microsoft.com/office/drawing/2014/main" id="{AD60E9DA-C8E9-4972-A122-5F4826DD0E66}"/>
                </a:ext>
              </a:extLst>
            </p:cNvPr>
            <p:cNvSpPr/>
            <p:nvPr/>
          </p:nvSpPr>
          <p:spPr>
            <a:xfrm>
              <a:off x="3158299" y="1861185"/>
              <a:ext cx="218312" cy="218313"/>
            </a:xfrm>
            <a:custGeom>
              <a:avLst/>
              <a:gdLst>
                <a:gd name="connsiteX0" fmla="*/ 218313 w 218312"/>
                <a:gd name="connsiteY0" fmla="*/ 109156 h 218313"/>
                <a:gd name="connsiteX1" fmla="*/ 109156 w 218312"/>
                <a:gd name="connsiteY1" fmla="*/ 218313 h 218313"/>
                <a:gd name="connsiteX2" fmla="*/ 0 w 218312"/>
                <a:gd name="connsiteY2" fmla="*/ 109156 h 218313"/>
                <a:gd name="connsiteX3" fmla="*/ 109156 w 218312"/>
                <a:gd name="connsiteY3" fmla="*/ 0 h 218313"/>
                <a:gd name="connsiteX4" fmla="*/ 218313 w 218312"/>
                <a:gd name="connsiteY4" fmla="*/ 109156 h 2183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18312" h="218313">
                  <a:moveTo>
                    <a:pt x="218313" y="109156"/>
                  </a:moveTo>
                  <a:cubicBezTo>
                    <a:pt x="218313" y="169450"/>
                    <a:pt x="169450" y="218313"/>
                    <a:pt x="109156" y="218313"/>
                  </a:cubicBezTo>
                  <a:cubicBezTo>
                    <a:pt x="48863" y="218313"/>
                    <a:pt x="0" y="169450"/>
                    <a:pt x="0" y="109156"/>
                  </a:cubicBezTo>
                  <a:cubicBezTo>
                    <a:pt x="0" y="48863"/>
                    <a:pt x="48863" y="0"/>
                    <a:pt x="109156" y="0"/>
                  </a:cubicBezTo>
                  <a:cubicBezTo>
                    <a:pt x="169450" y="0"/>
                    <a:pt x="218313" y="48863"/>
                    <a:pt x="218313" y="109156"/>
                  </a:cubicBezTo>
                  <a:close/>
                </a:path>
              </a:pathLst>
            </a:custGeom>
            <a:solidFill>
              <a:srgbClr val="F5898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 sz="1800"/>
            </a:p>
          </p:txBody>
        </p:sp>
        <p:sp>
          <p:nvSpPr>
            <p:cNvPr id="27" name="î$ḻïḍe">
              <a:extLst>
                <a:ext uri="{FF2B5EF4-FFF2-40B4-BE49-F238E27FC236}">
                  <a16:creationId xmlns:a16="http://schemas.microsoft.com/office/drawing/2014/main" id="{92EFD5B0-F05B-4BA5-A7EB-6CFFB8A4E001}"/>
                </a:ext>
              </a:extLst>
            </p:cNvPr>
            <p:cNvSpPr/>
            <p:nvPr/>
          </p:nvSpPr>
          <p:spPr>
            <a:xfrm>
              <a:off x="4165758" y="1861185"/>
              <a:ext cx="218312" cy="218313"/>
            </a:xfrm>
            <a:custGeom>
              <a:avLst/>
              <a:gdLst>
                <a:gd name="connsiteX0" fmla="*/ 218313 w 218312"/>
                <a:gd name="connsiteY0" fmla="*/ 109156 h 218313"/>
                <a:gd name="connsiteX1" fmla="*/ 109156 w 218312"/>
                <a:gd name="connsiteY1" fmla="*/ 218313 h 218313"/>
                <a:gd name="connsiteX2" fmla="*/ 0 w 218312"/>
                <a:gd name="connsiteY2" fmla="*/ 109156 h 218313"/>
                <a:gd name="connsiteX3" fmla="*/ 109156 w 218312"/>
                <a:gd name="connsiteY3" fmla="*/ 0 h 218313"/>
                <a:gd name="connsiteX4" fmla="*/ 218313 w 218312"/>
                <a:gd name="connsiteY4" fmla="*/ 109156 h 2183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18312" h="218313">
                  <a:moveTo>
                    <a:pt x="218313" y="109156"/>
                  </a:moveTo>
                  <a:cubicBezTo>
                    <a:pt x="218313" y="169450"/>
                    <a:pt x="169450" y="218313"/>
                    <a:pt x="109156" y="218313"/>
                  </a:cubicBezTo>
                  <a:cubicBezTo>
                    <a:pt x="48863" y="218313"/>
                    <a:pt x="0" y="169450"/>
                    <a:pt x="0" y="109156"/>
                  </a:cubicBezTo>
                  <a:cubicBezTo>
                    <a:pt x="0" y="48863"/>
                    <a:pt x="48863" y="0"/>
                    <a:pt x="109156" y="0"/>
                  </a:cubicBezTo>
                  <a:cubicBezTo>
                    <a:pt x="169354" y="0"/>
                    <a:pt x="218313" y="48863"/>
                    <a:pt x="218313" y="109156"/>
                  </a:cubicBezTo>
                  <a:close/>
                </a:path>
              </a:pathLst>
            </a:custGeom>
            <a:solidFill>
              <a:srgbClr val="F5898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 sz="1800"/>
            </a:p>
          </p:txBody>
        </p:sp>
        <p:sp>
          <p:nvSpPr>
            <p:cNvPr id="28" name="íṩlïdé">
              <a:extLst>
                <a:ext uri="{FF2B5EF4-FFF2-40B4-BE49-F238E27FC236}">
                  <a16:creationId xmlns:a16="http://schemas.microsoft.com/office/drawing/2014/main" id="{E38EFD18-05EC-4901-9256-2CEFD0855171}"/>
                </a:ext>
              </a:extLst>
            </p:cNvPr>
            <p:cNvSpPr/>
            <p:nvPr/>
          </p:nvSpPr>
          <p:spPr>
            <a:xfrm>
              <a:off x="3544918" y="1355883"/>
              <a:ext cx="210502" cy="723614"/>
            </a:xfrm>
            <a:custGeom>
              <a:avLst/>
              <a:gdLst>
                <a:gd name="connsiteX0" fmla="*/ 194500 w 210502"/>
                <a:gd name="connsiteY0" fmla="*/ 0 h 723614"/>
                <a:gd name="connsiteX1" fmla="*/ 210502 w 210502"/>
                <a:gd name="connsiteY1" fmla="*/ 723614 h 723614"/>
                <a:gd name="connsiteX2" fmla="*/ 0 w 210502"/>
                <a:gd name="connsiteY2" fmla="*/ 723614 h 7236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10502" h="723614">
                  <a:moveTo>
                    <a:pt x="194500" y="0"/>
                  </a:moveTo>
                  <a:lnTo>
                    <a:pt x="210502" y="723614"/>
                  </a:lnTo>
                  <a:lnTo>
                    <a:pt x="0" y="723614"/>
                  </a:lnTo>
                  <a:close/>
                </a:path>
              </a:pathLst>
            </a:custGeom>
            <a:solidFill>
              <a:srgbClr val="B53A3C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 sz="1800"/>
            </a:p>
          </p:txBody>
        </p:sp>
        <p:sp>
          <p:nvSpPr>
            <p:cNvPr id="29" name="íSḷidé">
              <a:extLst>
                <a:ext uri="{FF2B5EF4-FFF2-40B4-BE49-F238E27FC236}">
                  <a16:creationId xmlns:a16="http://schemas.microsoft.com/office/drawing/2014/main" id="{C4FC300E-1437-4536-9E80-B34DB2382EFC}"/>
                </a:ext>
              </a:extLst>
            </p:cNvPr>
            <p:cNvSpPr/>
            <p:nvPr/>
          </p:nvSpPr>
          <p:spPr>
            <a:xfrm>
              <a:off x="3833812" y="1625727"/>
              <a:ext cx="157924" cy="428624"/>
            </a:xfrm>
            <a:custGeom>
              <a:avLst/>
              <a:gdLst>
                <a:gd name="connsiteX0" fmla="*/ 0 w 157924"/>
                <a:gd name="connsiteY0" fmla="*/ 0 h 428624"/>
                <a:gd name="connsiteX1" fmla="*/ 157925 w 157924"/>
                <a:gd name="connsiteY1" fmla="*/ 428625 h 428624"/>
                <a:gd name="connsiteX2" fmla="*/ 0 w 157924"/>
                <a:gd name="connsiteY2" fmla="*/ 0 h 4286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57924" h="428624">
                  <a:moveTo>
                    <a:pt x="0" y="0"/>
                  </a:moveTo>
                  <a:lnTo>
                    <a:pt x="157925" y="428625"/>
                  </a:lnTo>
                  <a:cubicBezTo>
                    <a:pt x="157925" y="428625"/>
                    <a:pt x="25432" y="254032"/>
                    <a:pt x="0" y="0"/>
                  </a:cubicBezTo>
                  <a:close/>
                </a:path>
              </a:pathLst>
            </a:custGeom>
            <a:solidFill>
              <a:srgbClr val="F2EED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 sz="1800"/>
            </a:p>
          </p:txBody>
        </p:sp>
        <p:sp>
          <p:nvSpPr>
            <p:cNvPr id="30" name="íṧḷiḍê">
              <a:extLst>
                <a:ext uri="{FF2B5EF4-FFF2-40B4-BE49-F238E27FC236}">
                  <a16:creationId xmlns:a16="http://schemas.microsoft.com/office/drawing/2014/main" id="{37F94C4B-8EB8-4D1A-BF10-691CD9138DEF}"/>
                </a:ext>
              </a:extLst>
            </p:cNvPr>
            <p:cNvSpPr/>
            <p:nvPr/>
          </p:nvSpPr>
          <p:spPr>
            <a:xfrm>
              <a:off x="3117436" y="1261322"/>
              <a:ext cx="1208531" cy="204765"/>
            </a:xfrm>
            <a:custGeom>
              <a:avLst/>
              <a:gdLst>
                <a:gd name="connsiteX0" fmla="*/ 1208532 w 1208531"/>
                <a:gd name="connsiteY0" fmla="*/ 168476 h 204765"/>
                <a:gd name="connsiteX1" fmla="*/ 0 w 1208531"/>
                <a:gd name="connsiteY1" fmla="*/ 204766 h 204765"/>
                <a:gd name="connsiteX2" fmla="*/ 1208532 w 1208531"/>
                <a:gd name="connsiteY2" fmla="*/ 168476 h 2047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08531" h="204765">
                  <a:moveTo>
                    <a:pt x="1208532" y="168476"/>
                  </a:moveTo>
                  <a:cubicBezTo>
                    <a:pt x="1208532" y="168476"/>
                    <a:pt x="775907" y="-116798"/>
                    <a:pt x="0" y="204766"/>
                  </a:cubicBezTo>
                  <a:cubicBezTo>
                    <a:pt x="0" y="204766"/>
                    <a:pt x="729044" y="-230717"/>
                    <a:pt x="1208532" y="168476"/>
                  </a:cubicBezTo>
                  <a:close/>
                </a:path>
              </a:pathLst>
            </a:custGeom>
            <a:solidFill>
              <a:srgbClr val="E1A889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 sz="1800"/>
            </a:p>
          </p:txBody>
        </p:sp>
        <p:grpSp>
          <p:nvGrpSpPr>
            <p:cNvPr id="31" name="图形 5">
              <a:extLst>
                <a:ext uri="{FF2B5EF4-FFF2-40B4-BE49-F238E27FC236}">
                  <a16:creationId xmlns:a16="http://schemas.microsoft.com/office/drawing/2014/main" id="{722E9C88-5D51-4BC6-8C76-DBA7EF06534B}"/>
                </a:ext>
              </a:extLst>
            </p:cNvPr>
            <p:cNvGrpSpPr/>
            <p:nvPr/>
          </p:nvGrpSpPr>
          <p:grpSpPr>
            <a:xfrm>
              <a:off x="3930681" y="1341310"/>
              <a:ext cx="753468" cy="1174813"/>
              <a:chOff x="3930681" y="1341310"/>
              <a:chExt cx="753468" cy="1174813"/>
            </a:xfrm>
            <a:solidFill>
              <a:srgbClr val="F2EED7">
                <a:alpha val="50000"/>
              </a:srgbClr>
            </a:solidFill>
          </p:grpSpPr>
          <p:sp>
            <p:nvSpPr>
              <p:cNvPr id="37" name="íš1iḍé">
                <a:extLst>
                  <a:ext uri="{FF2B5EF4-FFF2-40B4-BE49-F238E27FC236}">
                    <a16:creationId xmlns:a16="http://schemas.microsoft.com/office/drawing/2014/main" id="{1E265B42-3D29-4564-9AE2-AAA4953DFFAE}"/>
                  </a:ext>
                </a:extLst>
              </p:cNvPr>
              <p:cNvSpPr/>
              <p:nvPr/>
            </p:nvSpPr>
            <p:spPr>
              <a:xfrm>
                <a:off x="4069082" y="1388843"/>
                <a:ext cx="615066" cy="1127280"/>
              </a:xfrm>
              <a:custGeom>
                <a:avLst/>
                <a:gdLst>
                  <a:gd name="connsiteX0" fmla="*/ 521205 w 615066"/>
                  <a:gd name="connsiteY0" fmla="*/ 1127280 h 1127280"/>
                  <a:gd name="connsiteX1" fmla="*/ 506346 w 615066"/>
                  <a:gd name="connsiteY1" fmla="*/ 1124613 h 1127280"/>
                  <a:gd name="connsiteX2" fmla="*/ 481009 w 615066"/>
                  <a:gd name="connsiteY2" fmla="*/ 1069559 h 1127280"/>
                  <a:gd name="connsiteX3" fmla="*/ 458816 w 615066"/>
                  <a:gd name="connsiteY3" fmla="*/ 482438 h 1127280"/>
                  <a:gd name="connsiteX4" fmla="*/ 28000 w 615066"/>
                  <a:gd name="connsiteY4" fmla="*/ 83054 h 1127280"/>
                  <a:gd name="connsiteX5" fmla="*/ 2663 w 615066"/>
                  <a:gd name="connsiteY5" fmla="*/ 28000 h 1127280"/>
                  <a:gd name="connsiteX6" fmla="*/ 57718 w 615066"/>
                  <a:gd name="connsiteY6" fmla="*/ 2663 h 1127280"/>
                  <a:gd name="connsiteX7" fmla="*/ 536730 w 615066"/>
                  <a:gd name="connsiteY7" fmla="*/ 446719 h 1127280"/>
                  <a:gd name="connsiteX8" fmla="*/ 561400 w 615066"/>
                  <a:gd name="connsiteY8" fmla="*/ 1099372 h 1127280"/>
                  <a:gd name="connsiteX9" fmla="*/ 521205 w 615066"/>
                  <a:gd name="connsiteY9" fmla="*/ 1127280 h 11272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615066" h="1127280">
                    <a:moveTo>
                      <a:pt x="521205" y="1127280"/>
                    </a:moveTo>
                    <a:cubicBezTo>
                      <a:pt x="516251" y="1127280"/>
                      <a:pt x="511203" y="1126423"/>
                      <a:pt x="506346" y="1124613"/>
                    </a:cubicBezTo>
                    <a:cubicBezTo>
                      <a:pt x="484152" y="1116422"/>
                      <a:pt x="472818" y="1091752"/>
                      <a:pt x="481009" y="1069559"/>
                    </a:cubicBezTo>
                    <a:cubicBezTo>
                      <a:pt x="552256" y="877249"/>
                      <a:pt x="544350" y="668747"/>
                      <a:pt x="458816" y="482438"/>
                    </a:cubicBezTo>
                    <a:cubicBezTo>
                      <a:pt x="373281" y="296129"/>
                      <a:pt x="220215" y="154206"/>
                      <a:pt x="28000" y="83054"/>
                    </a:cubicBezTo>
                    <a:cubicBezTo>
                      <a:pt x="5807" y="74863"/>
                      <a:pt x="-5528" y="50193"/>
                      <a:pt x="2663" y="28000"/>
                    </a:cubicBezTo>
                    <a:cubicBezTo>
                      <a:pt x="10855" y="5807"/>
                      <a:pt x="35525" y="-5528"/>
                      <a:pt x="57718" y="2663"/>
                    </a:cubicBezTo>
                    <a:cubicBezTo>
                      <a:pt x="271459" y="81912"/>
                      <a:pt x="441576" y="239550"/>
                      <a:pt x="536730" y="446719"/>
                    </a:cubicBezTo>
                    <a:cubicBezTo>
                      <a:pt x="631885" y="653888"/>
                      <a:pt x="640648" y="885631"/>
                      <a:pt x="561400" y="1099372"/>
                    </a:cubicBezTo>
                    <a:cubicBezTo>
                      <a:pt x="554923" y="1116612"/>
                      <a:pt x="538540" y="1127280"/>
                      <a:pt x="521205" y="1127280"/>
                    </a:cubicBezTo>
                    <a:close/>
                  </a:path>
                </a:pathLst>
              </a:custGeom>
              <a:solidFill>
                <a:srgbClr val="F2EED7">
                  <a:alpha val="50000"/>
                </a:srgbClr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 sz="1800"/>
              </a:p>
            </p:txBody>
          </p:sp>
          <p:sp>
            <p:nvSpPr>
              <p:cNvPr id="38" name="íS1ïḑè">
                <a:extLst>
                  <a:ext uri="{FF2B5EF4-FFF2-40B4-BE49-F238E27FC236}">
                    <a16:creationId xmlns:a16="http://schemas.microsoft.com/office/drawing/2014/main" id="{8231BB01-DD6F-47EC-AE8C-CA19DF8774B3}"/>
                  </a:ext>
                </a:extLst>
              </p:cNvPr>
              <p:cNvSpPr/>
              <p:nvPr/>
            </p:nvSpPr>
            <p:spPr>
              <a:xfrm>
                <a:off x="3930681" y="1341310"/>
                <a:ext cx="99821" cy="99822"/>
              </a:xfrm>
              <a:custGeom>
                <a:avLst/>
                <a:gdLst>
                  <a:gd name="connsiteX0" fmla="*/ 99822 w 99821"/>
                  <a:gd name="connsiteY0" fmla="*/ 49911 h 99822"/>
                  <a:gd name="connsiteX1" fmla="*/ 49911 w 99821"/>
                  <a:gd name="connsiteY1" fmla="*/ 99822 h 99822"/>
                  <a:gd name="connsiteX2" fmla="*/ 0 w 99821"/>
                  <a:gd name="connsiteY2" fmla="*/ 49911 h 99822"/>
                  <a:gd name="connsiteX3" fmla="*/ 49911 w 99821"/>
                  <a:gd name="connsiteY3" fmla="*/ 0 h 99822"/>
                  <a:gd name="connsiteX4" fmla="*/ 99822 w 99821"/>
                  <a:gd name="connsiteY4" fmla="*/ 49911 h 998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99821" h="99822">
                    <a:moveTo>
                      <a:pt x="99822" y="49911"/>
                    </a:moveTo>
                    <a:cubicBezTo>
                      <a:pt x="99822" y="77438"/>
                      <a:pt x="77438" y="99822"/>
                      <a:pt x="49911" y="99822"/>
                    </a:cubicBezTo>
                    <a:cubicBezTo>
                      <a:pt x="22384" y="99822"/>
                      <a:pt x="0" y="77438"/>
                      <a:pt x="0" y="49911"/>
                    </a:cubicBezTo>
                    <a:cubicBezTo>
                      <a:pt x="0" y="22384"/>
                      <a:pt x="22384" y="0"/>
                      <a:pt x="49911" y="0"/>
                    </a:cubicBezTo>
                    <a:cubicBezTo>
                      <a:pt x="77438" y="0"/>
                      <a:pt x="99822" y="22289"/>
                      <a:pt x="99822" y="49911"/>
                    </a:cubicBezTo>
                    <a:close/>
                  </a:path>
                </a:pathLst>
              </a:custGeom>
              <a:solidFill>
                <a:srgbClr val="F2EED7">
                  <a:alpha val="50000"/>
                </a:srgbClr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 sz="1800"/>
              </a:p>
            </p:txBody>
          </p:sp>
        </p:grpSp>
        <p:sp>
          <p:nvSpPr>
            <p:cNvPr id="32" name="ïşḻîḑe">
              <a:extLst>
                <a:ext uri="{FF2B5EF4-FFF2-40B4-BE49-F238E27FC236}">
                  <a16:creationId xmlns:a16="http://schemas.microsoft.com/office/drawing/2014/main" id="{8A96D89D-E65D-42ED-9B26-43507047F851}"/>
                </a:ext>
              </a:extLst>
            </p:cNvPr>
            <p:cNvSpPr/>
            <p:nvPr/>
          </p:nvSpPr>
          <p:spPr>
            <a:xfrm>
              <a:off x="3056000" y="2546508"/>
              <a:ext cx="1421511" cy="451890"/>
            </a:xfrm>
            <a:custGeom>
              <a:avLst/>
              <a:gdLst>
                <a:gd name="connsiteX0" fmla="*/ 1421511 w 1421511"/>
                <a:gd name="connsiteY0" fmla="*/ 0 h 451890"/>
                <a:gd name="connsiteX1" fmla="*/ 0 w 1421511"/>
                <a:gd name="connsiteY1" fmla="*/ 47625 h 451890"/>
                <a:gd name="connsiteX2" fmla="*/ 1421511 w 1421511"/>
                <a:gd name="connsiteY2" fmla="*/ 0 h 4518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421511" h="451890">
                  <a:moveTo>
                    <a:pt x="1421511" y="0"/>
                  </a:moveTo>
                  <a:cubicBezTo>
                    <a:pt x="1421511" y="0"/>
                    <a:pt x="824484" y="984218"/>
                    <a:pt x="0" y="47625"/>
                  </a:cubicBezTo>
                  <a:cubicBezTo>
                    <a:pt x="-95" y="47625"/>
                    <a:pt x="714756" y="703231"/>
                    <a:pt x="1421511" y="0"/>
                  </a:cubicBezTo>
                  <a:close/>
                </a:path>
              </a:pathLst>
            </a:custGeom>
            <a:solidFill>
              <a:srgbClr val="EEDEA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 sz="1800"/>
            </a:p>
          </p:txBody>
        </p:sp>
        <p:sp>
          <p:nvSpPr>
            <p:cNvPr id="33" name="íṥľîḋé">
              <a:extLst>
                <a:ext uri="{FF2B5EF4-FFF2-40B4-BE49-F238E27FC236}">
                  <a16:creationId xmlns:a16="http://schemas.microsoft.com/office/drawing/2014/main" id="{629E07CB-7D2A-4C7D-BE01-2A0214F91755}"/>
                </a:ext>
              </a:extLst>
            </p:cNvPr>
            <p:cNvSpPr/>
            <p:nvPr/>
          </p:nvSpPr>
          <p:spPr>
            <a:xfrm>
              <a:off x="2777108" y="1345311"/>
              <a:ext cx="1607153" cy="1817369"/>
            </a:xfrm>
            <a:custGeom>
              <a:avLst/>
              <a:gdLst>
                <a:gd name="connsiteX0" fmla="*/ 157163 w 1607153"/>
                <a:gd name="connsiteY0" fmla="*/ 733139 h 1817369"/>
                <a:gd name="connsiteX1" fmla="*/ 494633 w 1607153"/>
                <a:gd name="connsiteY1" fmla="*/ 0 h 1817369"/>
                <a:gd name="connsiteX2" fmla="*/ 0 w 1607153"/>
                <a:gd name="connsiteY2" fmla="*/ 842581 h 1817369"/>
                <a:gd name="connsiteX3" fmla="*/ 974789 w 1607153"/>
                <a:gd name="connsiteY3" fmla="*/ 1817370 h 1817369"/>
                <a:gd name="connsiteX4" fmla="*/ 1607153 w 1607153"/>
                <a:gd name="connsiteY4" fmla="*/ 1584389 h 1817369"/>
                <a:gd name="connsiteX5" fmla="*/ 1131951 w 1607153"/>
                <a:gd name="connsiteY5" fmla="*/ 1707928 h 1817369"/>
                <a:gd name="connsiteX6" fmla="*/ 157163 w 1607153"/>
                <a:gd name="connsiteY6" fmla="*/ 733139 h 18173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607153" h="1817369">
                  <a:moveTo>
                    <a:pt x="157163" y="733139"/>
                  </a:moveTo>
                  <a:cubicBezTo>
                    <a:pt x="157163" y="436150"/>
                    <a:pt x="195929" y="156591"/>
                    <a:pt x="494633" y="0"/>
                  </a:cubicBezTo>
                  <a:cubicBezTo>
                    <a:pt x="196596" y="166783"/>
                    <a:pt x="0" y="476726"/>
                    <a:pt x="0" y="842581"/>
                  </a:cubicBezTo>
                  <a:cubicBezTo>
                    <a:pt x="0" y="1380935"/>
                    <a:pt x="436435" y="1817370"/>
                    <a:pt x="974789" y="1817370"/>
                  </a:cubicBezTo>
                  <a:cubicBezTo>
                    <a:pt x="1216152" y="1817370"/>
                    <a:pt x="1436942" y="1729645"/>
                    <a:pt x="1607153" y="1584389"/>
                  </a:cubicBezTo>
                  <a:cubicBezTo>
                    <a:pt x="1466564" y="1663065"/>
                    <a:pt x="1304449" y="1707928"/>
                    <a:pt x="1131951" y="1707928"/>
                  </a:cubicBezTo>
                  <a:cubicBezTo>
                    <a:pt x="593598" y="1707832"/>
                    <a:pt x="157163" y="1271492"/>
                    <a:pt x="157163" y="733139"/>
                  </a:cubicBezTo>
                  <a:close/>
                </a:path>
              </a:pathLst>
            </a:custGeom>
            <a:solidFill>
              <a:srgbClr val="773020">
                <a:alpha val="20000"/>
              </a:srgb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 sz="1800"/>
            </a:p>
          </p:txBody>
        </p:sp>
        <p:sp>
          <p:nvSpPr>
            <p:cNvPr id="34" name="îṣḷíḋé">
              <a:extLst>
                <a:ext uri="{FF2B5EF4-FFF2-40B4-BE49-F238E27FC236}">
                  <a16:creationId xmlns:a16="http://schemas.microsoft.com/office/drawing/2014/main" id="{95C61AD0-EC61-4772-A4F0-24D9881F5977}"/>
                </a:ext>
              </a:extLst>
            </p:cNvPr>
            <p:cNvSpPr/>
            <p:nvPr/>
          </p:nvSpPr>
          <p:spPr>
            <a:xfrm>
              <a:off x="2963893" y="771442"/>
              <a:ext cx="1406842" cy="667784"/>
            </a:xfrm>
            <a:custGeom>
              <a:avLst/>
              <a:gdLst>
                <a:gd name="connsiteX0" fmla="*/ 1406843 w 1406842"/>
                <a:gd name="connsiteY0" fmla="*/ 657402 h 667784"/>
                <a:gd name="connsiteX1" fmla="*/ 660368 w 1406842"/>
                <a:gd name="connsiteY1" fmla="*/ 177 h 667784"/>
                <a:gd name="connsiteX2" fmla="*/ 0 w 1406842"/>
                <a:gd name="connsiteY2" fmla="*/ 525005 h 667784"/>
                <a:gd name="connsiteX3" fmla="*/ 393668 w 1406842"/>
                <a:gd name="connsiteY3" fmla="*/ 298596 h 667784"/>
                <a:gd name="connsiteX4" fmla="*/ 167164 w 1406842"/>
                <a:gd name="connsiteY4" fmla="*/ 667785 h 667784"/>
                <a:gd name="connsiteX5" fmla="*/ 1406843 w 1406842"/>
                <a:gd name="connsiteY5" fmla="*/ 657402 h 6677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406842" h="667784">
                  <a:moveTo>
                    <a:pt x="1406843" y="657402"/>
                  </a:moveTo>
                  <a:cubicBezTo>
                    <a:pt x="1406843" y="657402"/>
                    <a:pt x="971550" y="-12491"/>
                    <a:pt x="660368" y="177"/>
                  </a:cubicBezTo>
                  <a:cubicBezTo>
                    <a:pt x="349187" y="12846"/>
                    <a:pt x="0" y="525005"/>
                    <a:pt x="0" y="525005"/>
                  </a:cubicBezTo>
                  <a:cubicBezTo>
                    <a:pt x="0" y="525005"/>
                    <a:pt x="409575" y="231921"/>
                    <a:pt x="393668" y="298596"/>
                  </a:cubicBezTo>
                  <a:cubicBezTo>
                    <a:pt x="377762" y="365271"/>
                    <a:pt x="167164" y="667785"/>
                    <a:pt x="167164" y="667785"/>
                  </a:cubicBezTo>
                  <a:cubicBezTo>
                    <a:pt x="167164" y="667785"/>
                    <a:pt x="864203" y="219252"/>
                    <a:pt x="1406843" y="657402"/>
                  </a:cubicBezTo>
                  <a:close/>
                </a:path>
              </a:pathLst>
            </a:custGeom>
            <a:solidFill>
              <a:srgbClr val="CD3C4C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 sz="1800"/>
            </a:p>
          </p:txBody>
        </p:sp>
        <p:sp>
          <p:nvSpPr>
            <p:cNvPr id="35" name="íṣḷiḍé">
              <a:extLst>
                <a:ext uri="{FF2B5EF4-FFF2-40B4-BE49-F238E27FC236}">
                  <a16:creationId xmlns:a16="http://schemas.microsoft.com/office/drawing/2014/main" id="{7E757C7A-8799-4708-B50B-A168D1605331}"/>
                </a:ext>
              </a:extLst>
            </p:cNvPr>
            <p:cNvSpPr/>
            <p:nvPr/>
          </p:nvSpPr>
          <p:spPr>
            <a:xfrm>
              <a:off x="2881312" y="1213008"/>
              <a:ext cx="174593" cy="174688"/>
            </a:xfrm>
            <a:custGeom>
              <a:avLst/>
              <a:gdLst>
                <a:gd name="connsiteX0" fmla="*/ 174593 w 174593"/>
                <a:gd name="connsiteY0" fmla="*/ 87344 h 174688"/>
                <a:gd name="connsiteX1" fmla="*/ 87249 w 174593"/>
                <a:gd name="connsiteY1" fmla="*/ 174689 h 174688"/>
                <a:gd name="connsiteX2" fmla="*/ 0 w 174593"/>
                <a:gd name="connsiteY2" fmla="*/ 87344 h 174688"/>
                <a:gd name="connsiteX3" fmla="*/ 87344 w 174593"/>
                <a:gd name="connsiteY3" fmla="*/ 0 h 174688"/>
                <a:gd name="connsiteX4" fmla="*/ 174593 w 174593"/>
                <a:gd name="connsiteY4" fmla="*/ 87344 h 1746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4593" h="174688">
                  <a:moveTo>
                    <a:pt x="174593" y="87344"/>
                  </a:moveTo>
                  <a:cubicBezTo>
                    <a:pt x="174593" y="135541"/>
                    <a:pt x="135446" y="174689"/>
                    <a:pt x="87249" y="174689"/>
                  </a:cubicBezTo>
                  <a:cubicBezTo>
                    <a:pt x="39052" y="174689"/>
                    <a:pt x="0" y="135636"/>
                    <a:pt x="0" y="87344"/>
                  </a:cubicBezTo>
                  <a:cubicBezTo>
                    <a:pt x="0" y="39053"/>
                    <a:pt x="39052" y="0"/>
                    <a:pt x="87344" y="0"/>
                  </a:cubicBezTo>
                  <a:cubicBezTo>
                    <a:pt x="135636" y="0"/>
                    <a:pt x="174593" y="39148"/>
                    <a:pt x="174593" y="87344"/>
                  </a:cubicBezTo>
                  <a:close/>
                </a:path>
              </a:pathLst>
            </a:custGeom>
            <a:solidFill>
              <a:srgbClr val="F2EED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 sz="1800"/>
            </a:p>
          </p:txBody>
        </p:sp>
        <p:sp>
          <p:nvSpPr>
            <p:cNvPr id="36" name="is1îḑe">
              <a:extLst>
                <a:ext uri="{FF2B5EF4-FFF2-40B4-BE49-F238E27FC236}">
                  <a16:creationId xmlns:a16="http://schemas.microsoft.com/office/drawing/2014/main" id="{46DFD778-07A8-4872-8B7F-DCE84CC5155D}"/>
                </a:ext>
              </a:extLst>
            </p:cNvPr>
            <p:cNvSpPr/>
            <p:nvPr/>
          </p:nvSpPr>
          <p:spPr>
            <a:xfrm>
              <a:off x="3110674" y="1114660"/>
              <a:ext cx="1273397" cy="341330"/>
            </a:xfrm>
            <a:custGeom>
              <a:avLst/>
              <a:gdLst>
                <a:gd name="connsiteX0" fmla="*/ 1118235 w 1273397"/>
                <a:gd name="connsiteY0" fmla="*/ 118636 h 341330"/>
                <a:gd name="connsiteX1" fmla="*/ 102108 w 1273397"/>
                <a:gd name="connsiteY1" fmla="*/ 203980 h 341330"/>
                <a:gd name="connsiteX2" fmla="*/ 0 w 1273397"/>
                <a:gd name="connsiteY2" fmla="*/ 341331 h 341330"/>
                <a:gd name="connsiteX3" fmla="*/ 1273397 w 1273397"/>
                <a:gd name="connsiteY3" fmla="*/ 324662 h 341330"/>
                <a:gd name="connsiteX4" fmla="*/ 1118235 w 1273397"/>
                <a:gd name="connsiteY4" fmla="*/ 118636 h 3413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73397" h="341330">
                  <a:moveTo>
                    <a:pt x="1118235" y="118636"/>
                  </a:moveTo>
                  <a:cubicBezTo>
                    <a:pt x="1118235" y="118636"/>
                    <a:pt x="665417" y="-198356"/>
                    <a:pt x="102108" y="203980"/>
                  </a:cubicBezTo>
                  <a:lnTo>
                    <a:pt x="0" y="341331"/>
                  </a:lnTo>
                  <a:cubicBezTo>
                    <a:pt x="0" y="341331"/>
                    <a:pt x="710470" y="-114345"/>
                    <a:pt x="1273397" y="324662"/>
                  </a:cubicBezTo>
                  <a:lnTo>
                    <a:pt x="1118235" y="118636"/>
                  </a:lnTo>
                  <a:close/>
                </a:path>
              </a:pathLst>
            </a:custGeom>
            <a:solidFill>
              <a:srgbClr val="F2EED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 sz="1800"/>
            </a:p>
          </p:txBody>
        </p:sp>
      </p:grpSp>
    </p:spTree>
    <p:extLst>
      <p:ext uri="{BB962C8B-B14F-4D97-AF65-F5344CB8AC3E}">
        <p14:creationId xmlns:p14="http://schemas.microsoft.com/office/powerpoint/2010/main" val="285333427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2">
            <a:extLst>
              <a:ext uri="{FF2B5EF4-FFF2-40B4-BE49-F238E27FC236}">
                <a16:creationId xmlns:a16="http://schemas.microsoft.com/office/drawing/2014/main" id="{9888B6D7-9D3F-49D7-BACE-73A9D1149A7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7AC997A4-1DD8-4731-B9FD-42398A20FF8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DBA9825E-1876-42AD-ABCF-E0E100F351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  <p:sp>
        <p:nvSpPr>
          <p:cNvPr id="6" name="标题 5">
            <a:extLst>
              <a:ext uri="{FF2B5EF4-FFF2-40B4-BE49-F238E27FC236}">
                <a16:creationId xmlns:a16="http://schemas.microsoft.com/office/drawing/2014/main" id="{D124F9DB-C87A-423F-9657-38C7A29014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8" name="内容占位符 7">
            <a:extLst>
              <a:ext uri="{FF2B5EF4-FFF2-40B4-BE49-F238E27FC236}">
                <a16:creationId xmlns:a16="http://schemas.microsoft.com/office/drawing/2014/main" id="{2070191C-4093-409C-8FD5-7369A79637AD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669925" y="1130303"/>
            <a:ext cx="10850563" cy="50069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altLang="zh-CN" dirty="0"/>
              <a:t>Edit Master text styles</a:t>
            </a:r>
          </a:p>
          <a:p>
            <a:pPr lvl="1"/>
            <a:r>
              <a:rPr lang="en-US" altLang="zh-CN" dirty="0"/>
              <a:t>Second level</a:t>
            </a:r>
          </a:p>
          <a:p>
            <a:pPr lvl="2"/>
            <a:r>
              <a:rPr lang="en-US" altLang="zh-CN" dirty="0"/>
              <a:t>Third level</a:t>
            </a:r>
          </a:p>
          <a:p>
            <a:pPr lvl="3"/>
            <a:r>
              <a:rPr lang="en-US" altLang="zh-CN" dirty="0"/>
              <a:t>Fourth level</a:t>
            </a:r>
          </a:p>
          <a:p>
            <a:pPr lvl="4"/>
            <a:r>
              <a:rPr lang="en-US" altLang="zh-CN" dirty="0"/>
              <a:t>Fifth level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67759340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 userDrawn="1">
  <p:cSld name="仅标题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F21C7A1C-3684-4AAF-A408-C63B6CB6410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en-US" dirty="0"/>
          </a:p>
        </p:txBody>
      </p:sp>
      <p:sp>
        <p:nvSpPr>
          <p:cNvPr id="3" name="日期占位符 2">
            <a:extLst>
              <a:ext uri="{FF2B5EF4-FFF2-40B4-BE49-F238E27FC236}">
                <a16:creationId xmlns:a16="http://schemas.microsoft.com/office/drawing/2014/main" id="{8986EA5F-D77D-4318-90E9-C04AA8ADC0D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00832621-D9D9-445E-BFF9-F8348FA1E2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8371151B-F790-4A9F-962F-B8718A9560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28417621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1772862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末尾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i$1íḓè">
            <a:extLst>
              <a:ext uri="{FF2B5EF4-FFF2-40B4-BE49-F238E27FC236}">
                <a16:creationId xmlns:a16="http://schemas.microsoft.com/office/drawing/2014/main" id="{5C9F2C9C-7A44-4825-B445-2A5E3F12ABDE}"/>
              </a:ext>
            </a:extLst>
          </p:cNvPr>
          <p:cNvSpPr/>
          <p:nvPr userDrawn="1"/>
        </p:nvSpPr>
        <p:spPr>
          <a:xfrm>
            <a:off x="-105765" y="-72455"/>
            <a:ext cx="12315407" cy="6948713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800"/>
          </a:p>
        </p:txBody>
      </p:sp>
      <p:grpSp>
        <p:nvGrpSpPr>
          <p:cNvPr id="10" name="图形 5">
            <a:extLst>
              <a:ext uri="{FF2B5EF4-FFF2-40B4-BE49-F238E27FC236}">
                <a16:creationId xmlns:a16="http://schemas.microsoft.com/office/drawing/2014/main" id="{B38E87EC-867F-4035-B2DC-BE2DAA399623}"/>
              </a:ext>
            </a:extLst>
          </p:cNvPr>
          <p:cNvGrpSpPr/>
          <p:nvPr userDrawn="1"/>
        </p:nvGrpSpPr>
        <p:grpSpPr>
          <a:xfrm rot="959700">
            <a:off x="4395717" y="4320776"/>
            <a:ext cx="3108147" cy="3599184"/>
            <a:chOff x="5134072" y="3698189"/>
            <a:chExt cx="2064918" cy="2391142"/>
          </a:xfrm>
          <a:solidFill>
            <a:schemeClr val="accent1"/>
          </a:solidFill>
        </p:grpSpPr>
        <p:sp>
          <p:nvSpPr>
            <p:cNvPr id="11" name="î$ḷîḑê">
              <a:extLst>
                <a:ext uri="{FF2B5EF4-FFF2-40B4-BE49-F238E27FC236}">
                  <a16:creationId xmlns:a16="http://schemas.microsoft.com/office/drawing/2014/main" id="{84540071-EABC-4F0B-9AFD-72F1FCE36483}"/>
                </a:ext>
              </a:extLst>
            </p:cNvPr>
            <p:cNvSpPr/>
            <p:nvPr/>
          </p:nvSpPr>
          <p:spPr>
            <a:xfrm>
              <a:off x="5202364" y="4139755"/>
              <a:ext cx="1949577" cy="1949576"/>
            </a:xfrm>
            <a:custGeom>
              <a:avLst/>
              <a:gdLst>
                <a:gd name="connsiteX0" fmla="*/ 1949577 w 1949577"/>
                <a:gd name="connsiteY0" fmla="*/ 974788 h 1949576"/>
                <a:gd name="connsiteX1" fmla="*/ 974788 w 1949577"/>
                <a:gd name="connsiteY1" fmla="*/ 1949577 h 1949576"/>
                <a:gd name="connsiteX2" fmla="*/ 0 w 1949577"/>
                <a:gd name="connsiteY2" fmla="*/ 974788 h 1949576"/>
                <a:gd name="connsiteX3" fmla="*/ 974788 w 1949577"/>
                <a:gd name="connsiteY3" fmla="*/ 0 h 1949576"/>
                <a:gd name="connsiteX4" fmla="*/ 1949577 w 1949577"/>
                <a:gd name="connsiteY4" fmla="*/ 974788 h 19495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49577" h="1949576">
                  <a:moveTo>
                    <a:pt x="1949577" y="974788"/>
                  </a:moveTo>
                  <a:cubicBezTo>
                    <a:pt x="1949577" y="1513150"/>
                    <a:pt x="1513149" y="1949577"/>
                    <a:pt x="974788" y="1949577"/>
                  </a:cubicBezTo>
                  <a:cubicBezTo>
                    <a:pt x="436428" y="1949577"/>
                    <a:pt x="0" y="1513150"/>
                    <a:pt x="0" y="974788"/>
                  </a:cubicBezTo>
                  <a:cubicBezTo>
                    <a:pt x="0" y="436428"/>
                    <a:pt x="436428" y="0"/>
                    <a:pt x="974788" y="0"/>
                  </a:cubicBezTo>
                  <a:cubicBezTo>
                    <a:pt x="1513149" y="0"/>
                    <a:pt x="1949577" y="436428"/>
                    <a:pt x="1949577" y="974788"/>
                  </a:cubicBezTo>
                  <a:close/>
                </a:path>
              </a:pathLst>
            </a:custGeom>
            <a:solidFill>
              <a:srgbClr val="88A54A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 sz="1800"/>
            </a:p>
          </p:txBody>
        </p:sp>
        <p:sp>
          <p:nvSpPr>
            <p:cNvPr id="12" name="íšlîdê">
              <a:extLst>
                <a:ext uri="{FF2B5EF4-FFF2-40B4-BE49-F238E27FC236}">
                  <a16:creationId xmlns:a16="http://schemas.microsoft.com/office/drawing/2014/main" id="{D2FE8AD6-EC92-41E7-A7FD-842BBB7B17F2}"/>
                </a:ext>
              </a:extLst>
            </p:cNvPr>
            <p:cNvSpPr/>
            <p:nvPr/>
          </p:nvSpPr>
          <p:spPr>
            <a:xfrm>
              <a:off x="5134072" y="4207573"/>
              <a:ext cx="299748" cy="514254"/>
            </a:xfrm>
            <a:custGeom>
              <a:avLst/>
              <a:gdLst>
                <a:gd name="connsiteX0" fmla="*/ 119155 w 299748"/>
                <a:gd name="connsiteY0" fmla="*/ 0 h 514254"/>
                <a:gd name="connsiteX1" fmla="*/ 12284 w 299748"/>
                <a:gd name="connsiteY1" fmla="*/ 414147 h 514254"/>
                <a:gd name="connsiteX2" fmla="*/ 12380 w 299748"/>
                <a:gd name="connsiteY2" fmla="*/ 414147 h 514254"/>
                <a:gd name="connsiteX3" fmla="*/ 152111 w 299748"/>
                <a:gd name="connsiteY3" fmla="*/ 514255 h 514254"/>
                <a:gd name="connsiteX4" fmla="*/ 299749 w 299748"/>
                <a:gd name="connsiteY4" fmla="*/ 366617 h 514254"/>
                <a:gd name="connsiteX5" fmla="*/ 119155 w 299748"/>
                <a:gd name="connsiteY5" fmla="*/ 0 h 5142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299748" h="514254">
                  <a:moveTo>
                    <a:pt x="119155" y="0"/>
                  </a:moveTo>
                  <a:cubicBezTo>
                    <a:pt x="-53438" y="193167"/>
                    <a:pt x="12284" y="414147"/>
                    <a:pt x="12284" y="414147"/>
                  </a:cubicBezTo>
                  <a:lnTo>
                    <a:pt x="12380" y="414147"/>
                  </a:lnTo>
                  <a:cubicBezTo>
                    <a:pt x="32192" y="472345"/>
                    <a:pt x="87151" y="514255"/>
                    <a:pt x="152111" y="514255"/>
                  </a:cubicBezTo>
                  <a:cubicBezTo>
                    <a:pt x="233645" y="514255"/>
                    <a:pt x="299749" y="448151"/>
                    <a:pt x="299749" y="366617"/>
                  </a:cubicBezTo>
                  <a:cubicBezTo>
                    <a:pt x="299749" y="347186"/>
                    <a:pt x="119155" y="0"/>
                    <a:pt x="119155" y="0"/>
                  </a:cubicBezTo>
                  <a:close/>
                </a:path>
              </a:pathLst>
            </a:custGeom>
            <a:solidFill>
              <a:srgbClr val="E7BB9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 sz="1800"/>
            </a:p>
          </p:txBody>
        </p:sp>
        <p:sp>
          <p:nvSpPr>
            <p:cNvPr id="14" name="íşľiḓé">
              <a:extLst>
                <a:ext uri="{FF2B5EF4-FFF2-40B4-BE49-F238E27FC236}">
                  <a16:creationId xmlns:a16="http://schemas.microsoft.com/office/drawing/2014/main" id="{156F310B-299D-456E-A82C-C83CB2DA0076}"/>
                </a:ext>
              </a:extLst>
            </p:cNvPr>
            <p:cNvSpPr/>
            <p:nvPr/>
          </p:nvSpPr>
          <p:spPr>
            <a:xfrm>
              <a:off x="5248369" y="4311967"/>
              <a:ext cx="107026" cy="364140"/>
            </a:xfrm>
            <a:custGeom>
              <a:avLst/>
              <a:gdLst>
                <a:gd name="connsiteX0" fmla="*/ 66675 w 107026"/>
                <a:gd name="connsiteY0" fmla="*/ 364141 h 364140"/>
                <a:gd name="connsiteX1" fmla="*/ 55054 w 107026"/>
                <a:gd name="connsiteY1" fmla="*/ 348996 h 364140"/>
                <a:gd name="connsiteX2" fmla="*/ 0 w 107026"/>
                <a:gd name="connsiteY2" fmla="*/ 9715 h 364140"/>
                <a:gd name="connsiteX3" fmla="*/ 16383 w 107026"/>
                <a:gd name="connsiteY3" fmla="*/ 0 h 364140"/>
                <a:gd name="connsiteX4" fmla="*/ 66675 w 107026"/>
                <a:gd name="connsiteY4" fmla="*/ 364141 h 3641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7026" h="364140">
                  <a:moveTo>
                    <a:pt x="66675" y="364141"/>
                  </a:moveTo>
                  <a:lnTo>
                    <a:pt x="55054" y="348996"/>
                  </a:lnTo>
                  <a:cubicBezTo>
                    <a:pt x="153543" y="273272"/>
                    <a:pt x="1524" y="12287"/>
                    <a:pt x="0" y="9715"/>
                  </a:cubicBezTo>
                  <a:lnTo>
                    <a:pt x="16383" y="0"/>
                  </a:lnTo>
                  <a:cubicBezTo>
                    <a:pt x="23146" y="11430"/>
                    <a:pt x="178498" y="278225"/>
                    <a:pt x="66675" y="364141"/>
                  </a:cubicBezTo>
                  <a:close/>
                </a:path>
              </a:pathLst>
            </a:custGeom>
            <a:solidFill>
              <a:srgbClr val="D4927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 sz="1800"/>
            </a:p>
          </p:txBody>
        </p:sp>
        <p:sp>
          <p:nvSpPr>
            <p:cNvPr id="16" name="ïṥḻiḓé">
              <a:extLst>
                <a:ext uri="{FF2B5EF4-FFF2-40B4-BE49-F238E27FC236}">
                  <a16:creationId xmlns:a16="http://schemas.microsoft.com/office/drawing/2014/main" id="{DCF86FDF-0D8F-40AF-B605-9F3422B28641}"/>
                </a:ext>
              </a:extLst>
            </p:cNvPr>
            <p:cNvSpPr/>
            <p:nvPr/>
          </p:nvSpPr>
          <p:spPr>
            <a:xfrm>
              <a:off x="5258275" y="4455794"/>
              <a:ext cx="87630" cy="172593"/>
            </a:xfrm>
            <a:custGeom>
              <a:avLst/>
              <a:gdLst>
                <a:gd name="connsiteX0" fmla="*/ 77153 w 87630"/>
                <a:gd name="connsiteY0" fmla="*/ 172593 h 172593"/>
                <a:gd name="connsiteX1" fmla="*/ 286 w 87630"/>
                <a:gd name="connsiteY1" fmla="*/ 68294 h 172593"/>
                <a:gd name="connsiteX2" fmla="*/ 61913 w 87630"/>
                <a:gd name="connsiteY2" fmla="*/ 0 h 172593"/>
                <a:gd name="connsiteX3" fmla="*/ 69057 w 87630"/>
                <a:gd name="connsiteY3" fmla="*/ 17621 h 172593"/>
                <a:gd name="connsiteX4" fmla="*/ 19241 w 87630"/>
                <a:gd name="connsiteY4" fmla="*/ 70199 h 172593"/>
                <a:gd name="connsiteX5" fmla="*/ 87630 w 87630"/>
                <a:gd name="connsiteY5" fmla="*/ 156591 h 172593"/>
                <a:gd name="connsiteX6" fmla="*/ 77153 w 87630"/>
                <a:gd name="connsiteY6" fmla="*/ 172593 h 1725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7630" h="172593">
                  <a:moveTo>
                    <a:pt x="77153" y="172593"/>
                  </a:moveTo>
                  <a:cubicBezTo>
                    <a:pt x="22765" y="136875"/>
                    <a:pt x="-3047" y="101822"/>
                    <a:pt x="286" y="68294"/>
                  </a:cubicBezTo>
                  <a:cubicBezTo>
                    <a:pt x="4763" y="23527"/>
                    <a:pt x="59532" y="953"/>
                    <a:pt x="61913" y="0"/>
                  </a:cubicBezTo>
                  <a:lnTo>
                    <a:pt x="69057" y="17621"/>
                  </a:lnTo>
                  <a:cubicBezTo>
                    <a:pt x="68580" y="17812"/>
                    <a:pt x="22575" y="36862"/>
                    <a:pt x="19241" y="70199"/>
                  </a:cubicBezTo>
                  <a:cubicBezTo>
                    <a:pt x="16764" y="95631"/>
                    <a:pt x="40387" y="125540"/>
                    <a:pt x="87630" y="156591"/>
                  </a:cubicBezTo>
                  <a:lnTo>
                    <a:pt x="77153" y="172593"/>
                  </a:lnTo>
                  <a:close/>
                </a:path>
              </a:pathLst>
            </a:custGeom>
            <a:solidFill>
              <a:srgbClr val="D4927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 sz="1800"/>
            </a:p>
          </p:txBody>
        </p:sp>
        <p:grpSp>
          <p:nvGrpSpPr>
            <p:cNvPr id="17" name="图形 5">
              <a:extLst>
                <a:ext uri="{FF2B5EF4-FFF2-40B4-BE49-F238E27FC236}">
                  <a16:creationId xmlns:a16="http://schemas.microsoft.com/office/drawing/2014/main" id="{0CAB6AF8-880D-4833-A700-3F4CAF930883}"/>
                </a:ext>
              </a:extLst>
            </p:cNvPr>
            <p:cNvGrpSpPr/>
            <p:nvPr/>
          </p:nvGrpSpPr>
          <p:grpSpPr>
            <a:xfrm>
              <a:off x="6899242" y="4207573"/>
              <a:ext cx="299748" cy="514254"/>
              <a:chOff x="6899242" y="4207573"/>
              <a:chExt cx="299748" cy="514254"/>
            </a:xfrm>
            <a:solidFill>
              <a:schemeClr val="accent1"/>
            </a:solidFill>
          </p:grpSpPr>
          <p:sp>
            <p:nvSpPr>
              <p:cNvPr id="40" name="î$ľïdè">
                <a:extLst>
                  <a:ext uri="{FF2B5EF4-FFF2-40B4-BE49-F238E27FC236}">
                    <a16:creationId xmlns:a16="http://schemas.microsoft.com/office/drawing/2014/main" id="{F4CEA74E-197D-4361-898E-A10694E01502}"/>
                  </a:ext>
                </a:extLst>
              </p:cNvPr>
              <p:cNvSpPr/>
              <p:nvPr/>
            </p:nvSpPr>
            <p:spPr>
              <a:xfrm>
                <a:off x="6899242" y="4207573"/>
                <a:ext cx="299748" cy="514254"/>
              </a:xfrm>
              <a:custGeom>
                <a:avLst/>
                <a:gdLst>
                  <a:gd name="connsiteX0" fmla="*/ 180594 w 299748"/>
                  <a:gd name="connsiteY0" fmla="*/ 0 h 514254"/>
                  <a:gd name="connsiteX1" fmla="*/ 287465 w 299748"/>
                  <a:gd name="connsiteY1" fmla="*/ 414147 h 514254"/>
                  <a:gd name="connsiteX2" fmla="*/ 287369 w 299748"/>
                  <a:gd name="connsiteY2" fmla="*/ 414147 h 514254"/>
                  <a:gd name="connsiteX3" fmla="*/ 147638 w 299748"/>
                  <a:gd name="connsiteY3" fmla="*/ 514255 h 514254"/>
                  <a:gd name="connsiteX4" fmla="*/ 0 w 299748"/>
                  <a:gd name="connsiteY4" fmla="*/ 366617 h 514254"/>
                  <a:gd name="connsiteX5" fmla="*/ 180594 w 299748"/>
                  <a:gd name="connsiteY5" fmla="*/ 0 h 5142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99748" h="514254">
                    <a:moveTo>
                      <a:pt x="180594" y="0"/>
                    </a:moveTo>
                    <a:cubicBezTo>
                      <a:pt x="353187" y="193167"/>
                      <a:pt x="287465" y="414147"/>
                      <a:pt x="287465" y="414147"/>
                    </a:cubicBezTo>
                    <a:lnTo>
                      <a:pt x="287369" y="414147"/>
                    </a:lnTo>
                    <a:cubicBezTo>
                      <a:pt x="267558" y="472345"/>
                      <a:pt x="212598" y="514255"/>
                      <a:pt x="147638" y="514255"/>
                    </a:cubicBezTo>
                    <a:cubicBezTo>
                      <a:pt x="66104" y="514255"/>
                      <a:pt x="0" y="448151"/>
                      <a:pt x="0" y="366617"/>
                    </a:cubicBezTo>
                    <a:cubicBezTo>
                      <a:pt x="0" y="347186"/>
                      <a:pt x="180594" y="0"/>
                      <a:pt x="180594" y="0"/>
                    </a:cubicBezTo>
                    <a:close/>
                  </a:path>
                </a:pathLst>
              </a:custGeom>
              <a:solidFill>
                <a:srgbClr val="E7BB9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 sz="1800"/>
              </a:p>
            </p:txBody>
          </p:sp>
          <p:sp>
            <p:nvSpPr>
              <p:cNvPr id="41" name="íṩḷïḍé">
                <a:extLst>
                  <a:ext uri="{FF2B5EF4-FFF2-40B4-BE49-F238E27FC236}">
                    <a16:creationId xmlns:a16="http://schemas.microsoft.com/office/drawing/2014/main" id="{04DF84E4-BE88-40D4-B8A5-E3F55B1B28D2}"/>
                  </a:ext>
                </a:extLst>
              </p:cNvPr>
              <p:cNvSpPr/>
              <p:nvPr/>
            </p:nvSpPr>
            <p:spPr>
              <a:xfrm>
                <a:off x="6977682" y="4312062"/>
                <a:ext cx="107011" cy="364045"/>
              </a:xfrm>
              <a:custGeom>
                <a:avLst/>
                <a:gdLst>
                  <a:gd name="connsiteX0" fmla="*/ 40337 w 107011"/>
                  <a:gd name="connsiteY0" fmla="*/ 364046 h 364045"/>
                  <a:gd name="connsiteX1" fmla="*/ 90629 w 107011"/>
                  <a:gd name="connsiteY1" fmla="*/ 0 h 364045"/>
                  <a:gd name="connsiteX2" fmla="*/ 107012 w 107011"/>
                  <a:gd name="connsiteY2" fmla="*/ 9716 h 364045"/>
                  <a:gd name="connsiteX3" fmla="*/ 51957 w 107011"/>
                  <a:gd name="connsiteY3" fmla="*/ 348996 h 364045"/>
                  <a:gd name="connsiteX4" fmla="*/ 40337 w 107011"/>
                  <a:gd name="connsiteY4" fmla="*/ 364046 h 3640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07011" h="364045">
                    <a:moveTo>
                      <a:pt x="40337" y="364046"/>
                    </a:moveTo>
                    <a:cubicBezTo>
                      <a:pt x="-71487" y="278130"/>
                      <a:pt x="83961" y="11335"/>
                      <a:pt x="90629" y="0"/>
                    </a:cubicBezTo>
                    <a:lnTo>
                      <a:pt x="107012" y="9716"/>
                    </a:lnTo>
                    <a:cubicBezTo>
                      <a:pt x="105488" y="12383"/>
                      <a:pt x="-46531" y="273272"/>
                      <a:pt x="51957" y="348996"/>
                    </a:cubicBezTo>
                    <a:lnTo>
                      <a:pt x="40337" y="364046"/>
                    </a:lnTo>
                    <a:close/>
                  </a:path>
                </a:pathLst>
              </a:custGeom>
              <a:solidFill>
                <a:srgbClr val="D4927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 sz="1800"/>
              </a:p>
            </p:txBody>
          </p:sp>
          <p:sp>
            <p:nvSpPr>
              <p:cNvPr id="42" name="îṧľîde">
                <a:extLst>
                  <a:ext uri="{FF2B5EF4-FFF2-40B4-BE49-F238E27FC236}">
                    <a16:creationId xmlns:a16="http://schemas.microsoft.com/office/drawing/2014/main" id="{0726DD21-C217-49E4-876E-69C9490DA482}"/>
                  </a:ext>
                </a:extLst>
              </p:cNvPr>
              <p:cNvSpPr/>
              <p:nvPr/>
            </p:nvSpPr>
            <p:spPr>
              <a:xfrm>
                <a:off x="6987158" y="4455890"/>
                <a:ext cx="87630" cy="172497"/>
              </a:xfrm>
              <a:custGeom>
                <a:avLst/>
                <a:gdLst>
                  <a:gd name="connsiteX0" fmla="*/ 10478 w 87630"/>
                  <a:gd name="connsiteY0" fmla="*/ 172498 h 172497"/>
                  <a:gd name="connsiteX1" fmla="*/ 0 w 87630"/>
                  <a:gd name="connsiteY1" fmla="*/ 156591 h 172497"/>
                  <a:gd name="connsiteX2" fmla="*/ 68389 w 87630"/>
                  <a:gd name="connsiteY2" fmla="*/ 70199 h 172497"/>
                  <a:gd name="connsiteX3" fmla="*/ 18574 w 87630"/>
                  <a:gd name="connsiteY3" fmla="*/ 17621 h 172497"/>
                  <a:gd name="connsiteX4" fmla="*/ 25718 w 87630"/>
                  <a:gd name="connsiteY4" fmla="*/ 0 h 172497"/>
                  <a:gd name="connsiteX5" fmla="*/ 87344 w 87630"/>
                  <a:gd name="connsiteY5" fmla="*/ 68294 h 172497"/>
                  <a:gd name="connsiteX6" fmla="*/ 10478 w 87630"/>
                  <a:gd name="connsiteY6" fmla="*/ 172498 h 1724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87630" h="172497">
                    <a:moveTo>
                      <a:pt x="10478" y="172498"/>
                    </a:moveTo>
                    <a:lnTo>
                      <a:pt x="0" y="156591"/>
                    </a:lnTo>
                    <a:cubicBezTo>
                      <a:pt x="47244" y="125539"/>
                      <a:pt x="70866" y="95631"/>
                      <a:pt x="68389" y="70199"/>
                    </a:cubicBezTo>
                    <a:cubicBezTo>
                      <a:pt x="65151" y="36862"/>
                      <a:pt x="19050" y="17812"/>
                      <a:pt x="18574" y="17621"/>
                    </a:cubicBezTo>
                    <a:lnTo>
                      <a:pt x="25718" y="0"/>
                    </a:lnTo>
                    <a:cubicBezTo>
                      <a:pt x="28099" y="953"/>
                      <a:pt x="82868" y="23527"/>
                      <a:pt x="87344" y="68294"/>
                    </a:cubicBezTo>
                    <a:cubicBezTo>
                      <a:pt x="90678" y="101727"/>
                      <a:pt x="64865" y="136779"/>
                      <a:pt x="10478" y="172498"/>
                    </a:cubicBezTo>
                    <a:close/>
                  </a:path>
                </a:pathLst>
              </a:custGeom>
              <a:solidFill>
                <a:srgbClr val="D4927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 sz="1800"/>
              </a:p>
            </p:txBody>
          </p:sp>
        </p:grpSp>
        <p:sp>
          <p:nvSpPr>
            <p:cNvPr id="18" name="ïšḻiḋê">
              <a:extLst>
                <a:ext uri="{FF2B5EF4-FFF2-40B4-BE49-F238E27FC236}">
                  <a16:creationId xmlns:a16="http://schemas.microsoft.com/office/drawing/2014/main" id="{90E86F01-CC67-4BBB-8C7A-71268A653B7C}"/>
                </a:ext>
              </a:extLst>
            </p:cNvPr>
            <p:cNvSpPr/>
            <p:nvPr/>
          </p:nvSpPr>
          <p:spPr>
            <a:xfrm>
              <a:off x="5341905" y="4139755"/>
              <a:ext cx="1670494" cy="1333500"/>
            </a:xfrm>
            <a:custGeom>
              <a:avLst/>
              <a:gdLst>
                <a:gd name="connsiteX0" fmla="*/ 1670494 w 1670494"/>
                <a:gd name="connsiteY0" fmla="*/ 666750 h 1333500"/>
                <a:gd name="connsiteX1" fmla="*/ 835247 w 1670494"/>
                <a:gd name="connsiteY1" fmla="*/ 1333500 h 1333500"/>
                <a:gd name="connsiteX2" fmla="*/ 0 w 1670494"/>
                <a:gd name="connsiteY2" fmla="*/ 666750 h 1333500"/>
                <a:gd name="connsiteX3" fmla="*/ 835247 w 1670494"/>
                <a:gd name="connsiteY3" fmla="*/ 0 h 1333500"/>
                <a:gd name="connsiteX4" fmla="*/ 1670494 w 1670494"/>
                <a:gd name="connsiteY4" fmla="*/ 666750 h 1333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70494" h="1333500">
                  <a:moveTo>
                    <a:pt x="1670494" y="666750"/>
                  </a:moveTo>
                  <a:cubicBezTo>
                    <a:pt x="1670494" y="1034986"/>
                    <a:pt x="1296541" y="1333500"/>
                    <a:pt x="835247" y="1333500"/>
                  </a:cubicBezTo>
                  <a:cubicBezTo>
                    <a:pt x="373953" y="1333500"/>
                    <a:pt x="0" y="1034986"/>
                    <a:pt x="0" y="666750"/>
                  </a:cubicBezTo>
                  <a:cubicBezTo>
                    <a:pt x="0" y="298514"/>
                    <a:pt x="373953" y="0"/>
                    <a:pt x="835247" y="0"/>
                  </a:cubicBezTo>
                  <a:cubicBezTo>
                    <a:pt x="1296541" y="0"/>
                    <a:pt x="1670494" y="298514"/>
                    <a:pt x="1670494" y="666750"/>
                  </a:cubicBezTo>
                  <a:close/>
                </a:path>
              </a:pathLst>
            </a:custGeom>
            <a:solidFill>
              <a:srgbClr val="E7BB9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 sz="1800"/>
            </a:p>
          </p:txBody>
        </p:sp>
        <p:sp>
          <p:nvSpPr>
            <p:cNvPr id="19" name="ïşľîḑè">
              <a:extLst>
                <a:ext uri="{FF2B5EF4-FFF2-40B4-BE49-F238E27FC236}">
                  <a16:creationId xmlns:a16="http://schemas.microsoft.com/office/drawing/2014/main" id="{559346CD-1FDC-4A4A-8B18-0BF9ACF2126E}"/>
                </a:ext>
              </a:extLst>
            </p:cNvPr>
            <p:cNvSpPr/>
            <p:nvPr/>
          </p:nvSpPr>
          <p:spPr>
            <a:xfrm>
              <a:off x="6448510" y="4442534"/>
              <a:ext cx="196911" cy="196816"/>
            </a:xfrm>
            <a:custGeom>
              <a:avLst/>
              <a:gdLst>
                <a:gd name="connsiteX0" fmla="*/ 196701 w 196911"/>
                <a:gd name="connsiteY0" fmla="*/ 104700 h 196816"/>
                <a:gd name="connsiteX1" fmla="*/ 92116 w 196911"/>
                <a:gd name="connsiteY1" fmla="*/ 196616 h 196816"/>
                <a:gd name="connsiteX2" fmla="*/ 200 w 196911"/>
                <a:gd name="connsiteY2" fmla="*/ 92032 h 196816"/>
                <a:gd name="connsiteX3" fmla="*/ 104785 w 196911"/>
                <a:gd name="connsiteY3" fmla="*/ 211 h 196816"/>
                <a:gd name="connsiteX4" fmla="*/ 196701 w 196911"/>
                <a:gd name="connsiteY4" fmla="*/ 104700 h 1968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6911" h="196816">
                  <a:moveTo>
                    <a:pt x="196701" y="104700"/>
                  </a:moveTo>
                  <a:cubicBezTo>
                    <a:pt x="193177" y="158993"/>
                    <a:pt x="146409" y="200046"/>
                    <a:pt x="92116" y="196616"/>
                  </a:cubicBezTo>
                  <a:cubicBezTo>
                    <a:pt x="37824" y="193092"/>
                    <a:pt x="-3229" y="146324"/>
                    <a:pt x="200" y="92032"/>
                  </a:cubicBezTo>
                  <a:cubicBezTo>
                    <a:pt x="3724" y="37739"/>
                    <a:pt x="50492" y="-3313"/>
                    <a:pt x="104785" y="211"/>
                  </a:cubicBezTo>
                  <a:cubicBezTo>
                    <a:pt x="159077" y="3640"/>
                    <a:pt x="200225" y="50503"/>
                    <a:pt x="196701" y="104700"/>
                  </a:cubicBezTo>
                  <a:close/>
                </a:path>
              </a:pathLst>
            </a:custGeom>
            <a:solidFill>
              <a:srgbClr val="7A2A2A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 sz="1800"/>
            </a:p>
          </p:txBody>
        </p:sp>
        <p:sp>
          <p:nvSpPr>
            <p:cNvPr id="20" name="íṩľidè">
              <a:extLst>
                <a:ext uri="{FF2B5EF4-FFF2-40B4-BE49-F238E27FC236}">
                  <a16:creationId xmlns:a16="http://schemas.microsoft.com/office/drawing/2014/main" id="{AD3B9B78-3CF7-4DEA-9EB6-099A37D7CF0A}"/>
                </a:ext>
              </a:extLst>
            </p:cNvPr>
            <p:cNvSpPr/>
            <p:nvPr/>
          </p:nvSpPr>
          <p:spPr>
            <a:xfrm>
              <a:off x="5770520" y="4478539"/>
              <a:ext cx="196911" cy="196826"/>
            </a:xfrm>
            <a:custGeom>
              <a:avLst/>
              <a:gdLst>
                <a:gd name="connsiteX0" fmla="*/ 196701 w 196911"/>
                <a:gd name="connsiteY0" fmla="*/ 104700 h 196826"/>
                <a:gd name="connsiteX1" fmla="*/ 92116 w 196911"/>
                <a:gd name="connsiteY1" fmla="*/ 196616 h 196826"/>
                <a:gd name="connsiteX2" fmla="*/ 200 w 196911"/>
                <a:gd name="connsiteY2" fmla="*/ 92032 h 196826"/>
                <a:gd name="connsiteX3" fmla="*/ 104784 w 196911"/>
                <a:gd name="connsiteY3" fmla="*/ 211 h 196826"/>
                <a:gd name="connsiteX4" fmla="*/ 196701 w 196911"/>
                <a:gd name="connsiteY4" fmla="*/ 104700 h 1968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6911" h="196826">
                  <a:moveTo>
                    <a:pt x="196701" y="104700"/>
                  </a:moveTo>
                  <a:cubicBezTo>
                    <a:pt x="193176" y="158992"/>
                    <a:pt x="146409" y="200140"/>
                    <a:pt x="92116" y="196616"/>
                  </a:cubicBezTo>
                  <a:cubicBezTo>
                    <a:pt x="37824" y="193092"/>
                    <a:pt x="-3229" y="146324"/>
                    <a:pt x="200" y="92032"/>
                  </a:cubicBezTo>
                  <a:cubicBezTo>
                    <a:pt x="3724" y="37834"/>
                    <a:pt x="50492" y="-3314"/>
                    <a:pt x="104784" y="211"/>
                  </a:cubicBezTo>
                  <a:cubicBezTo>
                    <a:pt x="159077" y="3640"/>
                    <a:pt x="200225" y="50502"/>
                    <a:pt x="196701" y="104700"/>
                  </a:cubicBezTo>
                  <a:close/>
                </a:path>
              </a:pathLst>
            </a:custGeom>
            <a:solidFill>
              <a:srgbClr val="7A2A2A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 sz="1800"/>
            </a:p>
          </p:txBody>
        </p:sp>
        <p:sp>
          <p:nvSpPr>
            <p:cNvPr id="21" name="îṡḻïdé">
              <a:extLst>
                <a:ext uri="{FF2B5EF4-FFF2-40B4-BE49-F238E27FC236}">
                  <a16:creationId xmlns:a16="http://schemas.microsoft.com/office/drawing/2014/main" id="{398ED3FE-3702-4348-960C-E37401629632}"/>
                </a:ext>
              </a:extLst>
            </p:cNvPr>
            <p:cNvSpPr/>
            <p:nvPr/>
          </p:nvSpPr>
          <p:spPr>
            <a:xfrm>
              <a:off x="5385625" y="3698189"/>
              <a:ext cx="1406842" cy="667784"/>
            </a:xfrm>
            <a:custGeom>
              <a:avLst/>
              <a:gdLst>
                <a:gd name="connsiteX0" fmla="*/ 1406842 w 1406842"/>
                <a:gd name="connsiteY0" fmla="*/ 657402 h 667784"/>
                <a:gd name="connsiteX1" fmla="*/ 660368 w 1406842"/>
                <a:gd name="connsiteY1" fmla="*/ 177 h 667784"/>
                <a:gd name="connsiteX2" fmla="*/ 0 w 1406842"/>
                <a:gd name="connsiteY2" fmla="*/ 525005 h 667784"/>
                <a:gd name="connsiteX3" fmla="*/ 393668 w 1406842"/>
                <a:gd name="connsiteY3" fmla="*/ 298596 h 667784"/>
                <a:gd name="connsiteX4" fmla="*/ 167164 w 1406842"/>
                <a:gd name="connsiteY4" fmla="*/ 667785 h 667784"/>
                <a:gd name="connsiteX5" fmla="*/ 1406842 w 1406842"/>
                <a:gd name="connsiteY5" fmla="*/ 657402 h 6677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406842" h="667784">
                  <a:moveTo>
                    <a:pt x="1406842" y="657402"/>
                  </a:moveTo>
                  <a:cubicBezTo>
                    <a:pt x="1406842" y="657402"/>
                    <a:pt x="971550" y="-12491"/>
                    <a:pt x="660368" y="177"/>
                  </a:cubicBezTo>
                  <a:cubicBezTo>
                    <a:pt x="349186" y="12846"/>
                    <a:pt x="0" y="525005"/>
                    <a:pt x="0" y="525005"/>
                  </a:cubicBezTo>
                  <a:cubicBezTo>
                    <a:pt x="0" y="525005"/>
                    <a:pt x="409575" y="231921"/>
                    <a:pt x="393668" y="298596"/>
                  </a:cubicBezTo>
                  <a:cubicBezTo>
                    <a:pt x="377761" y="365271"/>
                    <a:pt x="167164" y="667785"/>
                    <a:pt x="167164" y="667785"/>
                  </a:cubicBezTo>
                  <a:cubicBezTo>
                    <a:pt x="167164" y="667785"/>
                    <a:pt x="864203" y="219252"/>
                    <a:pt x="1406842" y="657402"/>
                  </a:cubicBezTo>
                  <a:close/>
                </a:path>
              </a:pathLst>
            </a:custGeom>
            <a:solidFill>
              <a:srgbClr val="88A54A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 sz="1800"/>
            </a:p>
          </p:txBody>
        </p:sp>
        <p:sp>
          <p:nvSpPr>
            <p:cNvPr id="22" name="iṩļïḍê">
              <a:extLst>
                <a:ext uri="{FF2B5EF4-FFF2-40B4-BE49-F238E27FC236}">
                  <a16:creationId xmlns:a16="http://schemas.microsoft.com/office/drawing/2014/main" id="{B676046C-46F5-40E3-AE40-E01F6F71F345}"/>
                </a:ext>
              </a:extLst>
            </p:cNvPr>
            <p:cNvSpPr/>
            <p:nvPr/>
          </p:nvSpPr>
          <p:spPr>
            <a:xfrm>
              <a:off x="5302947" y="4139755"/>
              <a:ext cx="174688" cy="174688"/>
            </a:xfrm>
            <a:custGeom>
              <a:avLst/>
              <a:gdLst>
                <a:gd name="connsiteX0" fmla="*/ 174688 w 174688"/>
                <a:gd name="connsiteY0" fmla="*/ 87344 h 174688"/>
                <a:gd name="connsiteX1" fmla="*/ 87344 w 174688"/>
                <a:gd name="connsiteY1" fmla="*/ 174688 h 174688"/>
                <a:gd name="connsiteX2" fmla="*/ 0 w 174688"/>
                <a:gd name="connsiteY2" fmla="*/ 87344 h 174688"/>
                <a:gd name="connsiteX3" fmla="*/ 87344 w 174688"/>
                <a:gd name="connsiteY3" fmla="*/ 0 h 174688"/>
                <a:gd name="connsiteX4" fmla="*/ 174688 w 174688"/>
                <a:gd name="connsiteY4" fmla="*/ 87344 h 1746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4688" h="174688">
                  <a:moveTo>
                    <a:pt x="174688" y="87344"/>
                  </a:moveTo>
                  <a:cubicBezTo>
                    <a:pt x="174688" y="135541"/>
                    <a:pt x="135541" y="174688"/>
                    <a:pt x="87344" y="174688"/>
                  </a:cubicBezTo>
                  <a:cubicBezTo>
                    <a:pt x="39148" y="174688"/>
                    <a:pt x="0" y="135636"/>
                    <a:pt x="0" y="87344"/>
                  </a:cubicBezTo>
                  <a:cubicBezTo>
                    <a:pt x="0" y="39053"/>
                    <a:pt x="39053" y="0"/>
                    <a:pt x="87344" y="0"/>
                  </a:cubicBezTo>
                  <a:cubicBezTo>
                    <a:pt x="135636" y="0"/>
                    <a:pt x="174688" y="39148"/>
                    <a:pt x="174688" y="87344"/>
                  </a:cubicBezTo>
                  <a:close/>
                </a:path>
              </a:pathLst>
            </a:custGeom>
            <a:solidFill>
              <a:srgbClr val="EBB63F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 sz="1800"/>
            </a:p>
          </p:txBody>
        </p:sp>
        <p:sp>
          <p:nvSpPr>
            <p:cNvPr id="23" name="i$ľïḋê">
              <a:extLst>
                <a:ext uri="{FF2B5EF4-FFF2-40B4-BE49-F238E27FC236}">
                  <a16:creationId xmlns:a16="http://schemas.microsoft.com/office/drawing/2014/main" id="{6A2DB097-479B-47F0-8C03-563FB52E8BBB}"/>
                </a:ext>
              </a:extLst>
            </p:cNvPr>
            <p:cNvSpPr/>
            <p:nvPr/>
          </p:nvSpPr>
          <p:spPr>
            <a:xfrm>
              <a:off x="5532405" y="4041312"/>
              <a:ext cx="1273397" cy="341330"/>
            </a:xfrm>
            <a:custGeom>
              <a:avLst/>
              <a:gdLst>
                <a:gd name="connsiteX0" fmla="*/ 1118235 w 1273397"/>
                <a:gd name="connsiteY0" fmla="*/ 118636 h 341330"/>
                <a:gd name="connsiteX1" fmla="*/ 102108 w 1273397"/>
                <a:gd name="connsiteY1" fmla="*/ 203980 h 341330"/>
                <a:gd name="connsiteX2" fmla="*/ 0 w 1273397"/>
                <a:gd name="connsiteY2" fmla="*/ 341331 h 341330"/>
                <a:gd name="connsiteX3" fmla="*/ 1273397 w 1273397"/>
                <a:gd name="connsiteY3" fmla="*/ 324662 h 341330"/>
                <a:gd name="connsiteX4" fmla="*/ 1118235 w 1273397"/>
                <a:gd name="connsiteY4" fmla="*/ 118636 h 3413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73397" h="341330">
                  <a:moveTo>
                    <a:pt x="1118235" y="118636"/>
                  </a:moveTo>
                  <a:cubicBezTo>
                    <a:pt x="1118235" y="118636"/>
                    <a:pt x="665417" y="-198356"/>
                    <a:pt x="102108" y="203980"/>
                  </a:cubicBezTo>
                  <a:lnTo>
                    <a:pt x="0" y="341331"/>
                  </a:lnTo>
                  <a:cubicBezTo>
                    <a:pt x="0" y="341331"/>
                    <a:pt x="710470" y="-114345"/>
                    <a:pt x="1273397" y="324662"/>
                  </a:cubicBezTo>
                  <a:lnTo>
                    <a:pt x="1118235" y="118636"/>
                  </a:lnTo>
                  <a:close/>
                </a:path>
              </a:pathLst>
            </a:custGeom>
            <a:solidFill>
              <a:srgbClr val="CD3C4C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 sz="1800"/>
            </a:p>
          </p:txBody>
        </p:sp>
        <p:sp>
          <p:nvSpPr>
            <p:cNvPr id="24" name="ïṥḻíďe">
              <a:extLst>
                <a:ext uri="{FF2B5EF4-FFF2-40B4-BE49-F238E27FC236}">
                  <a16:creationId xmlns:a16="http://schemas.microsoft.com/office/drawing/2014/main" id="{66CF9277-56F5-40FA-B3F6-34A6965D1605}"/>
                </a:ext>
              </a:extLst>
            </p:cNvPr>
            <p:cNvSpPr/>
            <p:nvPr/>
          </p:nvSpPr>
          <p:spPr>
            <a:xfrm>
              <a:off x="5577839" y="4659534"/>
              <a:ext cx="218312" cy="218312"/>
            </a:xfrm>
            <a:custGeom>
              <a:avLst/>
              <a:gdLst>
                <a:gd name="connsiteX0" fmla="*/ 218313 w 218312"/>
                <a:gd name="connsiteY0" fmla="*/ 109156 h 218312"/>
                <a:gd name="connsiteX1" fmla="*/ 109156 w 218312"/>
                <a:gd name="connsiteY1" fmla="*/ 218313 h 218312"/>
                <a:gd name="connsiteX2" fmla="*/ 0 w 218312"/>
                <a:gd name="connsiteY2" fmla="*/ 109156 h 218312"/>
                <a:gd name="connsiteX3" fmla="*/ 109156 w 218312"/>
                <a:gd name="connsiteY3" fmla="*/ 0 h 218312"/>
                <a:gd name="connsiteX4" fmla="*/ 218313 w 218312"/>
                <a:gd name="connsiteY4" fmla="*/ 109156 h 2183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18312" h="218312">
                  <a:moveTo>
                    <a:pt x="218313" y="109156"/>
                  </a:moveTo>
                  <a:cubicBezTo>
                    <a:pt x="218313" y="169450"/>
                    <a:pt x="169450" y="218313"/>
                    <a:pt x="109156" y="218313"/>
                  </a:cubicBezTo>
                  <a:cubicBezTo>
                    <a:pt x="48863" y="218313"/>
                    <a:pt x="0" y="169450"/>
                    <a:pt x="0" y="109156"/>
                  </a:cubicBezTo>
                  <a:cubicBezTo>
                    <a:pt x="0" y="48863"/>
                    <a:pt x="48863" y="0"/>
                    <a:pt x="109156" y="0"/>
                  </a:cubicBezTo>
                  <a:cubicBezTo>
                    <a:pt x="169450" y="0"/>
                    <a:pt x="218313" y="48863"/>
                    <a:pt x="218313" y="109156"/>
                  </a:cubicBezTo>
                  <a:close/>
                </a:path>
              </a:pathLst>
            </a:custGeom>
            <a:solidFill>
              <a:srgbClr val="F5898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 sz="1800"/>
            </a:p>
          </p:txBody>
        </p:sp>
        <p:sp>
          <p:nvSpPr>
            <p:cNvPr id="25" name="ïšḷîḑê">
              <a:extLst>
                <a:ext uri="{FF2B5EF4-FFF2-40B4-BE49-F238E27FC236}">
                  <a16:creationId xmlns:a16="http://schemas.microsoft.com/office/drawing/2014/main" id="{BEC62A1F-C436-4968-B5DF-D3D3A6C73CF0}"/>
                </a:ext>
              </a:extLst>
            </p:cNvPr>
            <p:cNvSpPr/>
            <p:nvPr/>
          </p:nvSpPr>
          <p:spPr>
            <a:xfrm rot="-1484732">
              <a:off x="6587584" y="4601501"/>
              <a:ext cx="218318" cy="218318"/>
            </a:xfrm>
            <a:custGeom>
              <a:avLst/>
              <a:gdLst>
                <a:gd name="connsiteX0" fmla="*/ 218319 w 218318"/>
                <a:gd name="connsiteY0" fmla="*/ 109159 h 218318"/>
                <a:gd name="connsiteX1" fmla="*/ 109160 w 218318"/>
                <a:gd name="connsiteY1" fmla="*/ 218319 h 218318"/>
                <a:gd name="connsiteX2" fmla="*/ 0 w 218318"/>
                <a:gd name="connsiteY2" fmla="*/ 109159 h 218318"/>
                <a:gd name="connsiteX3" fmla="*/ 109160 w 218318"/>
                <a:gd name="connsiteY3" fmla="*/ 0 h 218318"/>
                <a:gd name="connsiteX4" fmla="*/ 218319 w 218318"/>
                <a:gd name="connsiteY4" fmla="*/ 109159 h 2183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18318" h="218318">
                  <a:moveTo>
                    <a:pt x="218319" y="109159"/>
                  </a:moveTo>
                  <a:cubicBezTo>
                    <a:pt x="218319" y="169447"/>
                    <a:pt x="169446" y="218319"/>
                    <a:pt x="109160" y="218319"/>
                  </a:cubicBezTo>
                  <a:cubicBezTo>
                    <a:pt x="48872" y="218319"/>
                    <a:pt x="0" y="169446"/>
                    <a:pt x="0" y="109159"/>
                  </a:cubicBezTo>
                  <a:cubicBezTo>
                    <a:pt x="0" y="48872"/>
                    <a:pt x="48873" y="0"/>
                    <a:pt x="109160" y="0"/>
                  </a:cubicBezTo>
                  <a:cubicBezTo>
                    <a:pt x="169447" y="0"/>
                    <a:pt x="218319" y="48873"/>
                    <a:pt x="218319" y="109159"/>
                  </a:cubicBezTo>
                  <a:close/>
                </a:path>
              </a:pathLst>
            </a:custGeom>
            <a:solidFill>
              <a:srgbClr val="F5898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 sz="1800"/>
            </a:p>
          </p:txBody>
        </p:sp>
        <p:sp>
          <p:nvSpPr>
            <p:cNvPr id="26" name="iṣḷidé">
              <a:extLst>
                <a:ext uri="{FF2B5EF4-FFF2-40B4-BE49-F238E27FC236}">
                  <a16:creationId xmlns:a16="http://schemas.microsoft.com/office/drawing/2014/main" id="{52A47303-4533-47A0-B5E4-CA49A09E63D1}"/>
                </a:ext>
              </a:extLst>
            </p:cNvPr>
            <p:cNvSpPr/>
            <p:nvPr/>
          </p:nvSpPr>
          <p:spPr>
            <a:xfrm>
              <a:off x="5539168" y="4187973"/>
              <a:ext cx="1208532" cy="204765"/>
            </a:xfrm>
            <a:custGeom>
              <a:avLst/>
              <a:gdLst>
                <a:gd name="connsiteX0" fmla="*/ 1208532 w 1208532"/>
                <a:gd name="connsiteY0" fmla="*/ 168476 h 204765"/>
                <a:gd name="connsiteX1" fmla="*/ 0 w 1208532"/>
                <a:gd name="connsiteY1" fmla="*/ 204766 h 204765"/>
                <a:gd name="connsiteX2" fmla="*/ 1208532 w 1208532"/>
                <a:gd name="connsiteY2" fmla="*/ 168476 h 2047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08532" h="204765">
                  <a:moveTo>
                    <a:pt x="1208532" y="168476"/>
                  </a:moveTo>
                  <a:cubicBezTo>
                    <a:pt x="1208532" y="168476"/>
                    <a:pt x="775906" y="-116798"/>
                    <a:pt x="0" y="204766"/>
                  </a:cubicBezTo>
                  <a:cubicBezTo>
                    <a:pt x="0" y="204766"/>
                    <a:pt x="729043" y="-230717"/>
                    <a:pt x="1208532" y="168476"/>
                  </a:cubicBezTo>
                  <a:close/>
                </a:path>
              </a:pathLst>
            </a:custGeom>
            <a:solidFill>
              <a:srgbClr val="E1A889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 sz="1800"/>
            </a:p>
          </p:txBody>
        </p:sp>
        <p:sp>
          <p:nvSpPr>
            <p:cNvPr id="27" name="iSḷídê">
              <a:extLst>
                <a:ext uri="{FF2B5EF4-FFF2-40B4-BE49-F238E27FC236}">
                  <a16:creationId xmlns:a16="http://schemas.microsoft.com/office/drawing/2014/main" id="{28D91DE6-B7D5-4502-88E7-F1E1F9CE990A}"/>
                </a:ext>
              </a:extLst>
            </p:cNvPr>
            <p:cNvSpPr/>
            <p:nvPr/>
          </p:nvSpPr>
          <p:spPr>
            <a:xfrm>
              <a:off x="5711856" y="4659153"/>
              <a:ext cx="943165" cy="927925"/>
            </a:xfrm>
            <a:custGeom>
              <a:avLst/>
              <a:gdLst>
                <a:gd name="connsiteX0" fmla="*/ 943165 w 943165"/>
                <a:gd name="connsiteY0" fmla="*/ 463963 h 927925"/>
                <a:gd name="connsiteX1" fmla="*/ 471583 w 943165"/>
                <a:gd name="connsiteY1" fmla="*/ 927926 h 927925"/>
                <a:gd name="connsiteX2" fmla="*/ 0 w 943165"/>
                <a:gd name="connsiteY2" fmla="*/ 463963 h 927925"/>
                <a:gd name="connsiteX3" fmla="*/ 471583 w 943165"/>
                <a:gd name="connsiteY3" fmla="*/ 0 h 927925"/>
                <a:gd name="connsiteX4" fmla="*/ 943165 w 943165"/>
                <a:gd name="connsiteY4" fmla="*/ 463963 h 9279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43165" h="927925">
                  <a:moveTo>
                    <a:pt x="943165" y="463963"/>
                  </a:moveTo>
                  <a:cubicBezTo>
                    <a:pt x="943165" y="720185"/>
                    <a:pt x="731996" y="927926"/>
                    <a:pt x="471583" y="927926"/>
                  </a:cubicBezTo>
                  <a:cubicBezTo>
                    <a:pt x="211169" y="927926"/>
                    <a:pt x="0" y="720185"/>
                    <a:pt x="0" y="463963"/>
                  </a:cubicBezTo>
                  <a:cubicBezTo>
                    <a:pt x="0" y="207740"/>
                    <a:pt x="211169" y="0"/>
                    <a:pt x="471583" y="0"/>
                  </a:cubicBezTo>
                  <a:cubicBezTo>
                    <a:pt x="731996" y="0"/>
                    <a:pt x="943165" y="207740"/>
                    <a:pt x="943165" y="463963"/>
                  </a:cubicBezTo>
                  <a:close/>
                </a:path>
              </a:pathLst>
            </a:custGeom>
            <a:solidFill>
              <a:srgbClr val="AA5535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 sz="1800"/>
            </a:p>
          </p:txBody>
        </p:sp>
        <p:sp>
          <p:nvSpPr>
            <p:cNvPr id="28" name="ísľîḋè">
              <a:extLst>
                <a:ext uri="{FF2B5EF4-FFF2-40B4-BE49-F238E27FC236}">
                  <a16:creationId xmlns:a16="http://schemas.microsoft.com/office/drawing/2014/main" id="{59FB51FF-1557-4F3B-AB1D-AD043A5A3E5C}"/>
                </a:ext>
              </a:extLst>
            </p:cNvPr>
            <p:cNvSpPr/>
            <p:nvPr/>
          </p:nvSpPr>
          <p:spPr>
            <a:xfrm>
              <a:off x="5297518" y="4415980"/>
              <a:ext cx="873728" cy="1171098"/>
            </a:xfrm>
            <a:custGeom>
              <a:avLst/>
              <a:gdLst>
                <a:gd name="connsiteX0" fmla="*/ 206026 w 873728"/>
                <a:gd name="connsiteY0" fmla="*/ 0 h 1171098"/>
                <a:gd name="connsiteX1" fmla="*/ 227457 w 873728"/>
                <a:gd name="connsiteY1" fmla="*/ 509492 h 1171098"/>
                <a:gd name="connsiteX2" fmla="*/ 553117 w 873728"/>
                <a:gd name="connsiteY2" fmla="*/ 480917 h 1171098"/>
                <a:gd name="connsiteX3" fmla="*/ 873728 w 873728"/>
                <a:gd name="connsiteY3" fmla="*/ 1171099 h 1171098"/>
                <a:gd name="connsiteX4" fmla="*/ 0 w 873728"/>
                <a:gd name="connsiteY4" fmla="*/ 278130 h 1171098"/>
                <a:gd name="connsiteX5" fmla="*/ 206026 w 873728"/>
                <a:gd name="connsiteY5" fmla="*/ 0 h 11710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873728" h="1171098">
                  <a:moveTo>
                    <a:pt x="206026" y="0"/>
                  </a:moveTo>
                  <a:cubicBezTo>
                    <a:pt x="206026" y="0"/>
                    <a:pt x="-55245" y="272225"/>
                    <a:pt x="227457" y="509492"/>
                  </a:cubicBezTo>
                  <a:cubicBezTo>
                    <a:pt x="404908" y="658463"/>
                    <a:pt x="553117" y="480917"/>
                    <a:pt x="553117" y="480917"/>
                  </a:cubicBezTo>
                  <a:lnTo>
                    <a:pt x="873728" y="1171099"/>
                  </a:lnTo>
                  <a:cubicBezTo>
                    <a:pt x="873728" y="1171099"/>
                    <a:pt x="26575" y="1142524"/>
                    <a:pt x="0" y="278130"/>
                  </a:cubicBezTo>
                  <a:cubicBezTo>
                    <a:pt x="0" y="278130"/>
                    <a:pt x="94964" y="81439"/>
                    <a:pt x="206026" y="0"/>
                  </a:cubicBezTo>
                  <a:close/>
                </a:path>
              </a:pathLst>
            </a:custGeom>
            <a:solidFill>
              <a:srgbClr val="AA5535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 sz="1800"/>
            </a:p>
          </p:txBody>
        </p:sp>
        <p:sp>
          <p:nvSpPr>
            <p:cNvPr id="29" name="ïṥlíḍé">
              <a:extLst>
                <a:ext uri="{FF2B5EF4-FFF2-40B4-BE49-F238E27FC236}">
                  <a16:creationId xmlns:a16="http://schemas.microsoft.com/office/drawing/2014/main" id="{FBC636AF-1DE7-4B36-BA09-CEAB6C8B5732}"/>
                </a:ext>
              </a:extLst>
            </p:cNvPr>
            <p:cNvSpPr/>
            <p:nvPr/>
          </p:nvSpPr>
          <p:spPr>
            <a:xfrm>
              <a:off x="6190392" y="4415980"/>
              <a:ext cx="873728" cy="1171098"/>
            </a:xfrm>
            <a:custGeom>
              <a:avLst/>
              <a:gdLst>
                <a:gd name="connsiteX0" fmla="*/ 667703 w 873728"/>
                <a:gd name="connsiteY0" fmla="*/ 0 h 1171098"/>
                <a:gd name="connsiteX1" fmla="*/ 646271 w 873728"/>
                <a:gd name="connsiteY1" fmla="*/ 509492 h 1171098"/>
                <a:gd name="connsiteX2" fmla="*/ 320612 w 873728"/>
                <a:gd name="connsiteY2" fmla="*/ 480917 h 1171098"/>
                <a:gd name="connsiteX3" fmla="*/ 0 w 873728"/>
                <a:gd name="connsiteY3" fmla="*/ 1171099 h 1171098"/>
                <a:gd name="connsiteX4" fmla="*/ 873728 w 873728"/>
                <a:gd name="connsiteY4" fmla="*/ 278130 h 1171098"/>
                <a:gd name="connsiteX5" fmla="*/ 667703 w 873728"/>
                <a:gd name="connsiteY5" fmla="*/ 0 h 11710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873728" h="1171098">
                  <a:moveTo>
                    <a:pt x="667703" y="0"/>
                  </a:moveTo>
                  <a:cubicBezTo>
                    <a:pt x="667703" y="0"/>
                    <a:pt x="928973" y="272225"/>
                    <a:pt x="646271" y="509492"/>
                  </a:cubicBezTo>
                  <a:cubicBezTo>
                    <a:pt x="468821" y="658463"/>
                    <a:pt x="320612" y="480917"/>
                    <a:pt x="320612" y="480917"/>
                  </a:cubicBezTo>
                  <a:lnTo>
                    <a:pt x="0" y="1171099"/>
                  </a:lnTo>
                  <a:cubicBezTo>
                    <a:pt x="0" y="1171099"/>
                    <a:pt x="847154" y="1142524"/>
                    <a:pt x="873728" y="278130"/>
                  </a:cubicBezTo>
                  <a:cubicBezTo>
                    <a:pt x="873728" y="278130"/>
                    <a:pt x="778764" y="81439"/>
                    <a:pt x="667703" y="0"/>
                  </a:cubicBezTo>
                  <a:close/>
                </a:path>
              </a:pathLst>
            </a:custGeom>
            <a:solidFill>
              <a:srgbClr val="AA5535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 sz="1800"/>
            </a:p>
          </p:txBody>
        </p:sp>
        <p:sp>
          <p:nvSpPr>
            <p:cNvPr id="30" name="ísľïďe">
              <a:extLst>
                <a:ext uri="{FF2B5EF4-FFF2-40B4-BE49-F238E27FC236}">
                  <a16:creationId xmlns:a16="http://schemas.microsoft.com/office/drawing/2014/main" id="{75A615E9-7021-4A27-9444-655D02D785AE}"/>
                </a:ext>
              </a:extLst>
            </p:cNvPr>
            <p:cNvSpPr/>
            <p:nvPr/>
          </p:nvSpPr>
          <p:spPr>
            <a:xfrm>
              <a:off x="6134861" y="4365974"/>
              <a:ext cx="390906" cy="432911"/>
            </a:xfrm>
            <a:custGeom>
              <a:avLst/>
              <a:gdLst>
                <a:gd name="connsiteX0" fmla="*/ 0 w 390906"/>
                <a:gd name="connsiteY0" fmla="*/ 0 h 432911"/>
                <a:gd name="connsiteX1" fmla="*/ 390906 w 390906"/>
                <a:gd name="connsiteY1" fmla="*/ 323088 h 432911"/>
                <a:gd name="connsiteX2" fmla="*/ 9335 w 390906"/>
                <a:gd name="connsiteY2" fmla="*/ 432911 h 4329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90906" h="432911">
                  <a:moveTo>
                    <a:pt x="0" y="0"/>
                  </a:moveTo>
                  <a:lnTo>
                    <a:pt x="390906" y="323088"/>
                  </a:lnTo>
                  <a:lnTo>
                    <a:pt x="9335" y="432911"/>
                  </a:lnTo>
                  <a:close/>
                </a:path>
              </a:pathLst>
            </a:custGeom>
            <a:solidFill>
              <a:srgbClr val="CD3C4C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 sz="1800"/>
            </a:p>
          </p:txBody>
        </p:sp>
        <p:sp>
          <p:nvSpPr>
            <p:cNvPr id="31" name="îṥḻîḓê">
              <a:extLst>
                <a:ext uri="{FF2B5EF4-FFF2-40B4-BE49-F238E27FC236}">
                  <a16:creationId xmlns:a16="http://schemas.microsoft.com/office/drawing/2014/main" id="{889DA4BE-9140-46FD-BF0E-AC6C836546DC}"/>
                </a:ext>
              </a:extLst>
            </p:cNvPr>
            <p:cNvSpPr/>
            <p:nvPr/>
          </p:nvSpPr>
          <p:spPr>
            <a:xfrm>
              <a:off x="5992938" y="4730496"/>
              <a:ext cx="420528" cy="238886"/>
            </a:xfrm>
            <a:custGeom>
              <a:avLst/>
              <a:gdLst>
                <a:gd name="connsiteX0" fmla="*/ 210217 w 420528"/>
                <a:gd name="connsiteY0" fmla="*/ 238887 h 238886"/>
                <a:gd name="connsiteX1" fmla="*/ 0 w 420528"/>
                <a:gd name="connsiteY1" fmla="*/ 28575 h 238886"/>
                <a:gd name="connsiteX2" fmla="*/ 28575 w 420528"/>
                <a:gd name="connsiteY2" fmla="*/ 0 h 238886"/>
                <a:gd name="connsiteX3" fmla="*/ 57150 w 420528"/>
                <a:gd name="connsiteY3" fmla="*/ 28575 h 238886"/>
                <a:gd name="connsiteX4" fmla="*/ 210217 w 420528"/>
                <a:gd name="connsiteY4" fmla="*/ 181737 h 238886"/>
                <a:gd name="connsiteX5" fmla="*/ 363379 w 420528"/>
                <a:gd name="connsiteY5" fmla="*/ 28575 h 238886"/>
                <a:gd name="connsiteX6" fmla="*/ 391954 w 420528"/>
                <a:gd name="connsiteY6" fmla="*/ 0 h 238886"/>
                <a:gd name="connsiteX7" fmla="*/ 420529 w 420528"/>
                <a:gd name="connsiteY7" fmla="*/ 28575 h 238886"/>
                <a:gd name="connsiteX8" fmla="*/ 210217 w 420528"/>
                <a:gd name="connsiteY8" fmla="*/ 238887 h 2388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20528" h="238886">
                  <a:moveTo>
                    <a:pt x="210217" y="238887"/>
                  </a:moveTo>
                  <a:cubicBezTo>
                    <a:pt x="94297" y="238887"/>
                    <a:pt x="0" y="144589"/>
                    <a:pt x="0" y="28575"/>
                  </a:cubicBezTo>
                  <a:cubicBezTo>
                    <a:pt x="0" y="12763"/>
                    <a:pt x="12763" y="0"/>
                    <a:pt x="28575" y="0"/>
                  </a:cubicBezTo>
                  <a:cubicBezTo>
                    <a:pt x="44387" y="0"/>
                    <a:pt x="57150" y="12763"/>
                    <a:pt x="57150" y="28575"/>
                  </a:cubicBezTo>
                  <a:cubicBezTo>
                    <a:pt x="57150" y="112966"/>
                    <a:pt x="125825" y="181737"/>
                    <a:pt x="210217" y="181737"/>
                  </a:cubicBezTo>
                  <a:cubicBezTo>
                    <a:pt x="294608" y="181737"/>
                    <a:pt x="363379" y="113062"/>
                    <a:pt x="363379" y="28575"/>
                  </a:cubicBezTo>
                  <a:cubicBezTo>
                    <a:pt x="363379" y="12763"/>
                    <a:pt x="376142" y="0"/>
                    <a:pt x="391954" y="0"/>
                  </a:cubicBezTo>
                  <a:cubicBezTo>
                    <a:pt x="407765" y="0"/>
                    <a:pt x="420529" y="12763"/>
                    <a:pt x="420529" y="28575"/>
                  </a:cubicBezTo>
                  <a:cubicBezTo>
                    <a:pt x="420529" y="144589"/>
                    <a:pt x="326136" y="238887"/>
                    <a:pt x="210217" y="238887"/>
                  </a:cubicBezTo>
                  <a:close/>
                </a:path>
              </a:pathLst>
            </a:custGeom>
            <a:solidFill>
              <a:srgbClr val="88382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 sz="1800"/>
            </a:p>
          </p:txBody>
        </p:sp>
        <p:sp>
          <p:nvSpPr>
            <p:cNvPr id="32" name="ís1îḑè">
              <a:extLst>
                <a:ext uri="{FF2B5EF4-FFF2-40B4-BE49-F238E27FC236}">
                  <a16:creationId xmlns:a16="http://schemas.microsoft.com/office/drawing/2014/main" id="{A9D3D94C-9630-4748-BACD-BD6F2A1A5E0F}"/>
                </a:ext>
              </a:extLst>
            </p:cNvPr>
            <p:cNvSpPr/>
            <p:nvPr/>
          </p:nvSpPr>
          <p:spPr>
            <a:xfrm>
              <a:off x="5577810" y="5349621"/>
              <a:ext cx="1169655" cy="442547"/>
            </a:xfrm>
            <a:custGeom>
              <a:avLst/>
              <a:gdLst>
                <a:gd name="connsiteX0" fmla="*/ 1167889 w 1169655"/>
                <a:gd name="connsiteY0" fmla="*/ 31813 h 442547"/>
                <a:gd name="connsiteX1" fmla="*/ 1009679 w 1169655"/>
                <a:gd name="connsiteY1" fmla="*/ 432721 h 442547"/>
                <a:gd name="connsiteX2" fmla="*/ 591341 w 1169655"/>
                <a:gd name="connsiteY2" fmla="*/ 232696 h 442547"/>
                <a:gd name="connsiteX3" fmla="*/ 218437 w 1169655"/>
                <a:gd name="connsiteY3" fmla="*/ 442246 h 442547"/>
                <a:gd name="connsiteX4" fmla="*/ 124 w 1169655"/>
                <a:gd name="connsiteY4" fmla="*/ 0 h 442547"/>
                <a:gd name="connsiteX5" fmla="*/ 1167889 w 1169655"/>
                <a:gd name="connsiteY5" fmla="*/ 31813 h 4425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69655" h="442547">
                  <a:moveTo>
                    <a:pt x="1167889" y="31813"/>
                  </a:moveTo>
                  <a:cubicBezTo>
                    <a:pt x="1167889" y="31813"/>
                    <a:pt x="1197988" y="387762"/>
                    <a:pt x="1009679" y="432721"/>
                  </a:cubicBezTo>
                  <a:cubicBezTo>
                    <a:pt x="821369" y="477678"/>
                    <a:pt x="591341" y="232696"/>
                    <a:pt x="591341" y="232696"/>
                  </a:cubicBezTo>
                  <a:cubicBezTo>
                    <a:pt x="591341" y="232696"/>
                    <a:pt x="449418" y="451771"/>
                    <a:pt x="218437" y="442246"/>
                  </a:cubicBezTo>
                  <a:cubicBezTo>
                    <a:pt x="-12544" y="432721"/>
                    <a:pt x="124" y="0"/>
                    <a:pt x="124" y="0"/>
                  </a:cubicBezTo>
                  <a:cubicBezTo>
                    <a:pt x="124" y="0"/>
                    <a:pt x="565623" y="442531"/>
                    <a:pt x="1167889" y="31813"/>
                  </a:cubicBezTo>
                  <a:close/>
                </a:path>
              </a:pathLst>
            </a:custGeom>
            <a:solidFill>
              <a:srgbClr val="F2EED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 sz="1800"/>
            </a:p>
          </p:txBody>
        </p:sp>
        <p:sp>
          <p:nvSpPr>
            <p:cNvPr id="33" name="iṡļidê">
              <a:extLst>
                <a:ext uri="{FF2B5EF4-FFF2-40B4-BE49-F238E27FC236}">
                  <a16:creationId xmlns:a16="http://schemas.microsoft.com/office/drawing/2014/main" id="{A667ACCF-517B-45DA-9FB0-CDED12C1FD05}"/>
                </a:ext>
              </a:extLst>
            </p:cNvPr>
            <p:cNvSpPr/>
            <p:nvPr/>
          </p:nvSpPr>
          <p:spPr>
            <a:xfrm>
              <a:off x="5304281" y="4620386"/>
              <a:ext cx="1682876" cy="896486"/>
            </a:xfrm>
            <a:custGeom>
              <a:avLst/>
              <a:gdLst>
                <a:gd name="connsiteX0" fmla="*/ 1682877 w 1682876"/>
                <a:gd name="connsiteY0" fmla="*/ 384143 h 896486"/>
                <a:gd name="connsiteX1" fmla="*/ 595694 w 1682876"/>
                <a:gd name="connsiteY1" fmla="*/ 717995 h 896486"/>
                <a:gd name="connsiteX2" fmla="*/ 36386 w 1682876"/>
                <a:gd name="connsiteY2" fmla="*/ 0 h 896486"/>
                <a:gd name="connsiteX3" fmla="*/ 0 w 1682876"/>
                <a:gd name="connsiteY3" fmla="*/ 79248 h 896486"/>
                <a:gd name="connsiteX4" fmla="*/ 598075 w 1682876"/>
                <a:gd name="connsiteY4" fmla="*/ 855059 h 896486"/>
                <a:gd name="connsiteX5" fmla="*/ 1682877 w 1682876"/>
                <a:gd name="connsiteY5" fmla="*/ 384143 h 8964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682876" h="896486">
                  <a:moveTo>
                    <a:pt x="1682877" y="384143"/>
                  </a:moveTo>
                  <a:cubicBezTo>
                    <a:pt x="1682877" y="384143"/>
                    <a:pt x="1243394" y="928211"/>
                    <a:pt x="595694" y="717995"/>
                  </a:cubicBezTo>
                  <a:cubicBezTo>
                    <a:pt x="-52006" y="507873"/>
                    <a:pt x="36386" y="0"/>
                    <a:pt x="36386" y="0"/>
                  </a:cubicBezTo>
                  <a:lnTo>
                    <a:pt x="0" y="79248"/>
                  </a:lnTo>
                  <a:cubicBezTo>
                    <a:pt x="0" y="79248"/>
                    <a:pt x="14478" y="720185"/>
                    <a:pt x="598075" y="855059"/>
                  </a:cubicBezTo>
                  <a:cubicBezTo>
                    <a:pt x="1523809" y="1069086"/>
                    <a:pt x="1682877" y="384143"/>
                    <a:pt x="1682877" y="384143"/>
                  </a:cubicBezTo>
                  <a:close/>
                </a:path>
              </a:pathLst>
            </a:custGeom>
            <a:solidFill>
              <a:srgbClr val="88382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 sz="1800"/>
            </a:p>
          </p:txBody>
        </p:sp>
        <p:sp>
          <p:nvSpPr>
            <p:cNvPr id="34" name="îṡļíḑê">
              <a:extLst>
                <a:ext uri="{FF2B5EF4-FFF2-40B4-BE49-F238E27FC236}">
                  <a16:creationId xmlns:a16="http://schemas.microsoft.com/office/drawing/2014/main" id="{75714057-27B4-41EB-8EC5-975D354D065F}"/>
                </a:ext>
              </a:extLst>
            </p:cNvPr>
            <p:cNvSpPr/>
            <p:nvPr/>
          </p:nvSpPr>
          <p:spPr>
            <a:xfrm>
              <a:off x="5201792" y="4241958"/>
              <a:ext cx="1569148" cy="1833086"/>
            </a:xfrm>
            <a:custGeom>
              <a:avLst/>
              <a:gdLst>
                <a:gd name="connsiteX0" fmla="*/ 132017 w 1569148"/>
                <a:gd name="connsiteY0" fmla="*/ 772573 h 1833086"/>
                <a:gd name="connsiteX1" fmla="*/ 512350 w 1569148"/>
                <a:gd name="connsiteY1" fmla="*/ 0 h 1833086"/>
                <a:gd name="connsiteX2" fmla="*/ 0 w 1569148"/>
                <a:gd name="connsiteY2" fmla="*/ 858298 h 1833086"/>
                <a:gd name="connsiteX3" fmla="*/ 974788 w 1569148"/>
                <a:gd name="connsiteY3" fmla="*/ 1833086 h 1833086"/>
                <a:gd name="connsiteX4" fmla="*/ 1569148 w 1569148"/>
                <a:gd name="connsiteY4" fmla="*/ 1630871 h 1833086"/>
                <a:gd name="connsiteX5" fmla="*/ 1106710 w 1569148"/>
                <a:gd name="connsiteY5" fmla="*/ 1747361 h 1833086"/>
                <a:gd name="connsiteX6" fmla="*/ 132017 w 1569148"/>
                <a:gd name="connsiteY6" fmla="*/ 772573 h 18330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569148" h="1833086">
                  <a:moveTo>
                    <a:pt x="132017" y="772573"/>
                  </a:moveTo>
                  <a:cubicBezTo>
                    <a:pt x="132017" y="457962"/>
                    <a:pt x="281083" y="178213"/>
                    <a:pt x="512350" y="0"/>
                  </a:cubicBezTo>
                  <a:cubicBezTo>
                    <a:pt x="207264" y="164687"/>
                    <a:pt x="0" y="487299"/>
                    <a:pt x="0" y="858298"/>
                  </a:cubicBezTo>
                  <a:cubicBezTo>
                    <a:pt x="0" y="1396651"/>
                    <a:pt x="436436" y="1833086"/>
                    <a:pt x="974788" y="1833086"/>
                  </a:cubicBezTo>
                  <a:cubicBezTo>
                    <a:pt x="1198531" y="1833086"/>
                    <a:pt x="1404652" y="1757648"/>
                    <a:pt x="1569148" y="1630871"/>
                  </a:cubicBezTo>
                  <a:cubicBezTo>
                    <a:pt x="1431512" y="1705165"/>
                    <a:pt x="1274064" y="1747361"/>
                    <a:pt x="1106710" y="1747361"/>
                  </a:cubicBezTo>
                  <a:cubicBezTo>
                    <a:pt x="568452" y="1747266"/>
                    <a:pt x="132017" y="1310926"/>
                    <a:pt x="132017" y="772573"/>
                  </a:cubicBezTo>
                  <a:close/>
                </a:path>
              </a:pathLst>
            </a:custGeom>
            <a:solidFill>
              <a:srgbClr val="7A2A2A">
                <a:alpha val="10000"/>
              </a:srgb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 sz="1800"/>
            </a:p>
          </p:txBody>
        </p:sp>
        <p:sp>
          <p:nvSpPr>
            <p:cNvPr id="35" name="îŝliḑê">
              <a:extLst>
                <a:ext uri="{FF2B5EF4-FFF2-40B4-BE49-F238E27FC236}">
                  <a16:creationId xmlns:a16="http://schemas.microsoft.com/office/drawing/2014/main" id="{23E75F42-26DF-4550-8BBA-1D9857757440}"/>
                </a:ext>
              </a:extLst>
            </p:cNvPr>
            <p:cNvSpPr/>
            <p:nvPr/>
          </p:nvSpPr>
          <p:spPr>
            <a:xfrm>
              <a:off x="6152387" y="4415980"/>
              <a:ext cx="308038" cy="352710"/>
            </a:xfrm>
            <a:custGeom>
              <a:avLst/>
              <a:gdLst>
                <a:gd name="connsiteX0" fmla="*/ 308038 w 308038"/>
                <a:gd name="connsiteY0" fmla="*/ 267843 h 352710"/>
                <a:gd name="connsiteX1" fmla="*/ 76009 w 308038"/>
                <a:gd name="connsiteY1" fmla="*/ 267843 h 352710"/>
                <a:gd name="connsiteX2" fmla="*/ 0 w 308038"/>
                <a:gd name="connsiteY2" fmla="*/ 0 h 352710"/>
                <a:gd name="connsiteX3" fmla="*/ 10192 w 308038"/>
                <a:gd name="connsiteY3" fmla="*/ 352711 h 35271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08038" h="352710">
                  <a:moveTo>
                    <a:pt x="308038" y="267843"/>
                  </a:moveTo>
                  <a:lnTo>
                    <a:pt x="76009" y="267843"/>
                  </a:lnTo>
                  <a:lnTo>
                    <a:pt x="0" y="0"/>
                  </a:lnTo>
                  <a:lnTo>
                    <a:pt x="10192" y="352711"/>
                  </a:lnTo>
                  <a:close/>
                </a:path>
              </a:pathLst>
            </a:custGeom>
            <a:solidFill>
              <a:srgbClr val="B53A3C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 sz="1800"/>
            </a:p>
          </p:txBody>
        </p:sp>
        <p:sp>
          <p:nvSpPr>
            <p:cNvPr id="36" name="íṩ1îḑè">
              <a:extLst>
                <a:ext uri="{FF2B5EF4-FFF2-40B4-BE49-F238E27FC236}">
                  <a16:creationId xmlns:a16="http://schemas.microsoft.com/office/drawing/2014/main" id="{76F514D4-9CDF-4DCE-B367-90D4188998B2}"/>
                </a:ext>
              </a:extLst>
            </p:cNvPr>
            <p:cNvSpPr/>
            <p:nvPr/>
          </p:nvSpPr>
          <p:spPr>
            <a:xfrm>
              <a:off x="6224301" y="4464653"/>
              <a:ext cx="206501" cy="179069"/>
            </a:xfrm>
            <a:custGeom>
              <a:avLst/>
              <a:gdLst>
                <a:gd name="connsiteX0" fmla="*/ 0 w 206501"/>
                <a:gd name="connsiteY0" fmla="*/ 0 h 179069"/>
                <a:gd name="connsiteX1" fmla="*/ 206502 w 206501"/>
                <a:gd name="connsiteY1" fmla="*/ 179070 h 179069"/>
                <a:gd name="connsiteX2" fmla="*/ 0 w 206501"/>
                <a:gd name="connsiteY2" fmla="*/ 0 h 1790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06501" h="179069">
                  <a:moveTo>
                    <a:pt x="0" y="0"/>
                  </a:moveTo>
                  <a:lnTo>
                    <a:pt x="206502" y="179070"/>
                  </a:lnTo>
                  <a:cubicBezTo>
                    <a:pt x="206502" y="178975"/>
                    <a:pt x="48292" y="123539"/>
                    <a:pt x="0" y="0"/>
                  </a:cubicBezTo>
                  <a:close/>
                </a:path>
              </a:pathLst>
            </a:custGeom>
            <a:solidFill>
              <a:srgbClr val="F2EED7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 sz="1800"/>
            </a:p>
          </p:txBody>
        </p:sp>
        <p:grpSp>
          <p:nvGrpSpPr>
            <p:cNvPr id="37" name="图形 5">
              <a:extLst>
                <a:ext uri="{FF2B5EF4-FFF2-40B4-BE49-F238E27FC236}">
                  <a16:creationId xmlns:a16="http://schemas.microsoft.com/office/drawing/2014/main" id="{5AAC1E0E-47E3-4E05-B28F-3322FA1AFA40}"/>
                </a:ext>
              </a:extLst>
            </p:cNvPr>
            <p:cNvGrpSpPr/>
            <p:nvPr/>
          </p:nvGrpSpPr>
          <p:grpSpPr>
            <a:xfrm>
              <a:off x="6352412" y="4236624"/>
              <a:ext cx="753468" cy="1174813"/>
              <a:chOff x="6352412" y="4236624"/>
              <a:chExt cx="753468" cy="1174813"/>
            </a:xfrm>
            <a:solidFill>
              <a:srgbClr val="F2EED7">
                <a:alpha val="50000"/>
              </a:srgbClr>
            </a:solidFill>
          </p:grpSpPr>
          <p:sp>
            <p:nvSpPr>
              <p:cNvPr id="38" name="ïŝľîḋe">
                <a:extLst>
                  <a:ext uri="{FF2B5EF4-FFF2-40B4-BE49-F238E27FC236}">
                    <a16:creationId xmlns:a16="http://schemas.microsoft.com/office/drawing/2014/main" id="{6B758750-AC50-43E0-8021-CD68F19AE2DA}"/>
                  </a:ext>
                </a:extLst>
              </p:cNvPr>
              <p:cNvSpPr/>
              <p:nvPr/>
            </p:nvSpPr>
            <p:spPr>
              <a:xfrm>
                <a:off x="6490814" y="4284158"/>
                <a:ext cx="615066" cy="1127280"/>
              </a:xfrm>
              <a:custGeom>
                <a:avLst/>
                <a:gdLst>
                  <a:gd name="connsiteX0" fmla="*/ 521205 w 615066"/>
                  <a:gd name="connsiteY0" fmla="*/ 1127280 h 1127280"/>
                  <a:gd name="connsiteX1" fmla="*/ 506345 w 615066"/>
                  <a:gd name="connsiteY1" fmla="*/ 1124613 h 1127280"/>
                  <a:gd name="connsiteX2" fmla="*/ 481009 w 615066"/>
                  <a:gd name="connsiteY2" fmla="*/ 1069559 h 1127280"/>
                  <a:gd name="connsiteX3" fmla="*/ 458816 w 615066"/>
                  <a:gd name="connsiteY3" fmla="*/ 482438 h 1127280"/>
                  <a:gd name="connsiteX4" fmla="*/ 28000 w 615066"/>
                  <a:gd name="connsiteY4" fmla="*/ 83054 h 1127280"/>
                  <a:gd name="connsiteX5" fmla="*/ 2664 w 615066"/>
                  <a:gd name="connsiteY5" fmla="*/ 28000 h 1127280"/>
                  <a:gd name="connsiteX6" fmla="*/ 57718 w 615066"/>
                  <a:gd name="connsiteY6" fmla="*/ 2663 h 1127280"/>
                  <a:gd name="connsiteX7" fmla="*/ 536730 w 615066"/>
                  <a:gd name="connsiteY7" fmla="*/ 446719 h 1127280"/>
                  <a:gd name="connsiteX8" fmla="*/ 561400 w 615066"/>
                  <a:gd name="connsiteY8" fmla="*/ 1099372 h 1127280"/>
                  <a:gd name="connsiteX9" fmla="*/ 521205 w 615066"/>
                  <a:gd name="connsiteY9" fmla="*/ 1127280 h 11272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615066" h="1127280">
                    <a:moveTo>
                      <a:pt x="521205" y="1127280"/>
                    </a:moveTo>
                    <a:cubicBezTo>
                      <a:pt x="516251" y="1127280"/>
                      <a:pt x="511203" y="1126423"/>
                      <a:pt x="506345" y="1124613"/>
                    </a:cubicBezTo>
                    <a:cubicBezTo>
                      <a:pt x="484152" y="1116422"/>
                      <a:pt x="472817" y="1091752"/>
                      <a:pt x="481009" y="1069559"/>
                    </a:cubicBezTo>
                    <a:cubicBezTo>
                      <a:pt x="552256" y="877249"/>
                      <a:pt x="544350" y="668747"/>
                      <a:pt x="458816" y="482438"/>
                    </a:cubicBezTo>
                    <a:cubicBezTo>
                      <a:pt x="373281" y="296129"/>
                      <a:pt x="220215" y="154206"/>
                      <a:pt x="28000" y="83054"/>
                    </a:cubicBezTo>
                    <a:cubicBezTo>
                      <a:pt x="5807" y="74863"/>
                      <a:pt x="-5528" y="50193"/>
                      <a:pt x="2664" y="28000"/>
                    </a:cubicBezTo>
                    <a:cubicBezTo>
                      <a:pt x="10855" y="5807"/>
                      <a:pt x="35525" y="-5528"/>
                      <a:pt x="57718" y="2663"/>
                    </a:cubicBezTo>
                    <a:cubicBezTo>
                      <a:pt x="271459" y="81816"/>
                      <a:pt x="441575" y="239550"/>
                      <a:pt x="536730" y="446719"/>
                    </a:cubicBezTo>
                    <a:cubicBezTo>
                      <a:pt x="631885" y="653888"/>
                      <a:pt x="640648" y="885631"/>
                      <a:pt x="561400" y="1099372"/>
                    </a:cubicBezTo>
                    <a:cubicBezTo>
                      <a:pt x="554923" y="1116612"/>
                      <a:pt x="538540" y="1127280"/>
                      <a:pt x="521205" y="1127280"/>
                    </a:cubicBezTo>
                    <a:close/>
                  </a:path>
                </a:pathLst>
              </a:custGeom>
              <a:solidFill>
                <a:srgbClr val="F2EED7">
                  <a:alpha val="50000"/>
                </a:srgbClr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 sz="1800"/>
              </a:p>
            </p:txBody>
          </p:sp>
          <p:sp>
            <p:nvSpPr>
              <p:cNvPr id="39" name="í$1ïḋê">
                <a:extLst>
                  <a:ext uri="{FF2B5EF4-FFF2-40B4-BE49-F238E27FC236}">
                    <a16:creationId xmlns:a16="http://schemas.microsoft.com/office/drawing/2014/main" id="{87DA856D-EDEC-44A3-9713-4DEADB7589C1}"/>
                  </a:ext>
                </a:extLst>
              </p:cNvPr>
              <p:cNvSpPr/>
              <p:nvPr/>
            </p:nvSpPr>
            <p:spPr>
              <a:xfrm>
                <a:off x="6352412" y="4236624"/>
                <a:ext cx="99821" cy="99821"/>
              </a:xfrm>
              <a:custGeom>
                <a:avLst/>
                <a:gdLst>
                  <a:gd name="connsiteX0" fmla="*/ 99822 w 99821"/>
                  <a:gd name="connsiteY0" fmla="*/ 49911 h 99821"/>
                  <a:gd name="connsiteX1" fmla="*/ 49911 w 99821"/>
                  <a:gd name="connsiteY1" fmla="*/ 99822 h 99821"/>
                  <a:gd name="connsiteX2" fmla="*/ 0 w 99821"/>
                  <a:gd name="connsiteY2" fmla="*/ 49911 h 99821"/>
                  <a:gd name="connsiteX3" fmla="*/ 49911 w 99821"/>
                  <a:gd name="connsiteY3" fmla="*/ 0 h 99821"/>
                  <a:gd name="connsiteX4" fmla="*/ 99822 w 99821"/>
                  <a:gd name="connsiteY4" fmla="*/ 49911 h 9982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99821" h="99821">
                    <a:moveTo>
                      <a:pt x="99822" y="49911"/>
                    </a:moveTo>
                    <a:cubicBezTo>
                      <a:pt x="99822" y="77438"/>
                      <a:pt x="77438" y="99822"/>
                      <a:pt x="49911" y="99822"/>
                    </a:cubicBezTo>
                    <a:cubicBezTo>
                      <a:pt x="22384" y="99822"/>
                      <a:pt x="0" y="77438"/>
                      <a:pt x="0" y="49911"/>
                    </a:cubicBezTo>
                    <a:cubicBezTo>
                      <a:pt x="0" y="22384"/>
                      <a:pt x="22384" y="0"/>
                      <a:pt x="49911" y="0"/>
                    </a:cubicBezTo>
                    <a:cubicBezTo>
                      <a:pt x="77438" y="0"/>
                      <a:pt x="99822" y="22288"/>
                      <a:pt x="99822" y="49911"/>
                    </a:cubicBezTo>
                    <a:close/>
                  </a:path>
                </a:pathLst>
              </a:custGeom>
              <a:solidFill>
                <a:srgbClr val="F2EED7">
                  <a:alpha val="50000"/>
                </a:srgbClr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 sz="1800"/>
              </a:p>
            </p:txBody>
          </p:sp>
        </p:grpSp>
      </p:grpSp>
      <p:grpSp>
        <p:nvGrpSpPr>
          <p:cNvPr id="43" name="图形 5">
            <a:extLst>
              <a:ext uri="{FF2B5EF4-FFF2-40B4-BE49-F238E27FC236}">
                <a16:creationId xmlns:a16="http://schemas.microsoft.com/office/drawing/2014/main" id="{43D75B16-4DDD-4AC8-8352-E56B3E097C20}"/>
              </a:ext>
            </a:extLst>
          </p:cNvPr>
          <p:cNvGrpSpPr/>
          <p:nvPr userDrawn="1"/>
        </p:nvGrpSpPr>
        <p:grpSpPr>
          <a:xfrm rot="20543498">
            <a:off x="-671869" y="3549670"/>
            <a:ext cx="4669865" cy="4665328"/>
            <a:chOff x="2756225" y="4086891"/>
            <a:chExt cx="1984842" cy="1982914"/>
          </a:xfrm>
          <a:solidFill>
            <a:schemeClr val="accent1"/>
          </a:solidFill>
        </p:grpSpPr>
        <p:grpSp>
          <p:nvGrpSpPr>
            <p:cNvPr id="44" name="图形 5">
              <a:extLst>
                <a:ext uri="{FF2B5EF4-FFF2-40B4-BE49-F238E27FC236}">
                  <a16:creationId xmlns:a16="http://schemas.microsoft.com/office/drawing/2014/main" id="{EB83D2C1-03FF-443D-A968-67B4A484D444}"/>
                </a:ext>
              </a:extLst>
            </p:cNvPr>
            <p:cNvGrpSpPr/>
            <p:nvPr/>
          </p:nvGrpSpPr>
          <p:grpSpPr>
            <a:xfrm>
              <a:off x="2756225" y="4086891"/>
              <a:ext cx="1981223" cy="1982914"/>
              <a:chOff x="2756225" y="4086891"/>
              <a:chExt cx="1981223" cy="1982914"/>
            </a:xfrm>
            <a:solidFill>
              <a:schemeClr val="accent1"/>
            </a:solidFill>
          </p:grpSpPr>
          <p:sp>
            <p:nvSpPr>
              <p:cNvPr id="46" name="i$1îdè">
                <a:extLst>
                  <a:ext uri="{FF2B5EF4-FFF2-40B4-BE49-F238E27FC236}">
                    <a16:creationId xmlns:a16="http://schemas.microsoft.com/office/drawing/2014/main" id="{92B84F80-62A8-4232-8D70-A4C3917E2E2B}"/>
                  </a:ext>
                </a:extLst>
              </p:cNvPr>
              <p:cNvSpPr/>
              <p:nvPr/>
            </p:nvSpPr>
            <p:spPr>
              <a:xfrm>
                <a:off x="2915697" y="4114609"/>
                <a:ext cx="298513" cy="298513"/>
              </a:xfrm>
              <a:custGeom>
                <a:avLst/>
                <a:gdLst>
                  <a:gd name="connsiteX0" fmla="*/ 298513 w 298513"/>
                  <a:gd name="connsiteY0" fmla="*/ 149257 h 298513"/>
                  <a:gd name="connsiteX1" fmla="*/ 149257 w 298513"/>
                  <a:gd name="connsiteY1" fmla="*/ 298513 h 298513"/>
                  <a:gd name="connsiteX2" fmla="*/ 0 w 298513"/>
                  <a:gd name="connsiteY2" fmla="*/ 149257 h 298513"/>
                  <a:gd name="connsiteX3" fmla="*/ 149257 w 298513"/>
                  <a:gd name="connsiteY3" fmla="*/ 0 h 298513"/>
                  <a:gd name="connsiteX4" fmla="*/ 298513 w 298513"/>
                  <a:gd name="connsiteY4" fmla="*/ 149257 h 2985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98513" h="298513">
                    <a:moveTo>
                      <a:pt x="298513" y="149257"/>
                    </a:moveTo>
                    <a:cubicBezTo>
                      <a:pt x="298513" y="231648"/>
                      <a:pt x="231743" y="298513"/>
                      <a:pt x="149257" y="298513"/>
                    </a:cubicBezTo>
                    <a:cubicBezTo>
                      <a:pt x="66866" y="298513"/>
                      <a:pt x="0" y="231648"/>
                      <a:pt x="0" y="149257"/>
                    </a:cubicBezTo>
                    <a:cubicBezTo>
                      <a:pt x="0" y="66865"/>
                      <a:pt x="66866" y="0"/>
                      <a:pt x="149257" y="0"/>
                    </a:cubicBezTo>
                    <a:cubicBezTo>
                      <a:pt x="231743" y="95"/>
                      <a:pt x="298513" y="66865"/>
                      <a:pt x="298513" y="149257"/>
                    </a:cubicBezTo>
                    <a:close/>
                  </a:path>
                </a:pathLst>
              </a:custGeom>
              <a:solidFill>
                <a:srgbClr val="F2EED7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 sz="1800"/>
              </a:p>
            </p:txBody>
          </p:sp>
          <p:sp>
            <p:nvSpPr>
              <p:cNvPr id="47" name="îṡḻïďê">
                <a:extLst>
                  <a:ext uri="{FF2B5EF4-FFF2-40B4-BE49-F238E27FC236}">
                    <a16:creationId xmlns:a16="http://schemas.microsoft.com/office/drawing/2014/main" id="{AA4221CD-FD20-46B5-B42B-EDBA0FDF7033}"/>
                  </a:ext>
                </a:extLst>
              </p:cNvPr>
              <p:cNvSpPr/>
              <p:nvPr/>
            </p:nvSpPr>
            <p:spPr>
              <a:xfrm>
                <a:off x="3008470" y="4204430"/>
                <a:ext cx="162687" cy="162687"/>
              </a:xfrm>
              <a:custGeom>
                <a:avLst/>
                <a:gdLst>
                  <a:gd name="connsiteX0" fmla="*/ 162687 w 162687"/>
                  <a:gd name="connsiteY0" fmla="*/ 81344 h 162687"/>
                  <a:gd name="connsiteX1" fmla="*/ 81344 w 162687"/>
                  <a:gd name="connsiteY1" fmla="*/ 162687 h 162687"/>
                  <a:gd name="connsiteX2" fmla="*/ 0 w 162687"/>
                  <a:gd name="connsiteY2" fmla="*/ 81344 h 162687"/>
                  <a:gd name="connsiteX3" fmla="*/ 81344 w 162687"/>
                  <a:gd name="connsiteY3" fmla="*/ 0 h 162687"/>
                  <a:gd name="connsiteX4" fmla="*/ 162687 w 162687"/>
                  <a:gd name="connsiteY4" fmla="*/ 81344 h 1626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2687" h="162687">
                    <a:moveTo>
                      <a:pt x="162687" y="81344"/>
                    </a:moveTo>
                    <a:cubicBezTo>
                      <a:pt x="162687" y="126302"/>
                      <a:pt x="126206" y="162687"/>
                      <a:pt x="81344" y="162687"/>
                    </a:cubicBezTo>
                    <a:cubicBezTo>
                      <a:pt x="36385" y="162687"/>
                      <a:pt x="0" y="126302"/>
                      <a:pt x="0" y="81344"/>
                    </a:cubicBezTo>
                    <a:cubicBezTo>
                      <a:pt x="0" y="36386"/>
                      <a:pt x="36481" y="0"/>
                      <a:pt x="81344" y="0"/>
                    </a:cubicBezTo>
                    <a:cubicBezTo>
                      <a:pt x="126206" y="-95"/>
                      <a:pt x="162687" y="36386"/>
                      <a:pt x="162687" y="81344"/>
                    </a:cubicBezTo>
                    <a:close/>
                  </a:path>
                </a:pathLst>
              </a:custGeom>
              <a:solidFill>
                <a:srgbClr val="F5898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 sz="1800"/>
              </a:p>
            </p:txBody>
          </p:sp>
          <p:sp>
            <p:nvSpPr>
              <p:cNvPr id="48" name="î$ļiḍe">
                <a:extLst>
                  <a:ext uri="{FF2B5EF4-FFF2-40B4-BE49-F238E27FC236}">
                    <a16:creationId xmlns:a16="http://schemas.microsoft.com/office/drawing/2014/main" id="{91562E66-2954-46B6-8DF9-F40A54251804}"/>
                  </a:ext>
                </a:extLst>
              </p:cNvPr>
              <p:cNvSpPr/>
              <p:nvPr/>
            </p:nvSpPr>
            <p:spPr>
              <a:xfrm>
                <a:off x="2780346" y="4120229"/>
                <a:ext cx="1949577" cy="1949576"/>
              </a:xfrm>
              <a:custGeom>
                <a:avLst/>
                <a:gdLst>
                  <a:gd name="connsiteX0" fmla="*/ 1949577 w 1949577"/>
                  <a:gd name="connsiteY0" fmla="*/ 974788 h 1949576"/>
                  <a:gd name="connsiteX1" fmla="*/ 974789 w 1949577"/>
                  <a:gd name="connsiteY1" fmla="*/ 1949577 h 1949576"/>
                  <a:gd name="connsiteX2" fmla="*/ 0 w 1949577"/>
                  <a:gd name="connsiteY2" fmla="*/ 974788 h 1949576"/>
                  <a:gd name="connsiteX3" fmla="*/ 974789 w 1949577"/>
                  <a:gd name="connsiteY3" fmla="*/ 0 h 1949576"/>
                  <a:gd name="connsiteX4" fmla="*/ 1949577 w 1949577"/>
                  <a:gd name="connsiteY4" fmla="*/ 974788 h 19495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949577" h="1949576">
                    <a:moveTo>
                      <a:pt x="1949577" y="974788"/>
                    </a:moveTo>
                    <a:cubicBezTo>
                      <a:pt x="1949577" y="1513141"/>
                      <a:pt x="1513142" y="1949577"/>
                      <a:pt x="974789" y="1949577"/>
                    </a:cubicBezTo>
                    <a:cubicBezTo>
                      <a:pt x="436436" y="1949577"/>
                      <a:pt x="0" y="1513141"/>
                      <a:pt x="0" y="974788"/>
                    </a:cubicBezTo>
                    <a:cubicBezTo>
                      <a:pt x="0" y="436436"/>
                      <a:pt x="436436" y="0"/>
                      <a:pt x="974789" y="0"/>
                    </a:cubicBezTo>
                    <a:cubicBezTo>
                      <a:pt x="1513142" y="0"/>
                      <a:pt x="1949577" y="436436"/>
                      <a:pt x="1949577" y="974788"/>
                    </a:cubicBezTo>
                    <a:close/>
                  </a:path>
                </a:pathLst>
              </a:custGeom>
              <a:solidFill>
                <a:srgbClr val="F2EED7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 sz="1800"/>
              </a:p>
            </p:txBody>
          </p:sp>
          <p:sp>
            <p:nvSpPr>
              <p:cNvPr id="49" name="iṥḷiḍè">
                <a:extLst>
                  <a:ext uri="{FF2B5EF4-FFF2-40B4-BE49-F238E27FC236}">
                    <a16:creationId xmlns:a16="http://schemas.microsoft.com/office/drawing/2014/main" id="{04E1C9A5-91C3-45F9-AEFF-D8E393D28A0D}"/>
                  </a:ext>
                </a:extLst>
              </p:cNvPr>
              <p:cNvSpPr/>
              <p:nvPr/>
            </p:nvSpPr>
            <p:spPr>
              <a:xfrm rot="-4846898">
                <a:off x="3299182" y="4334593"/>
                <a:ext cx="196789" cy="196789"/>
              </a:xfrm>
              <a:custGeom>
                <a:avLst/>
                <a:gdLst>
                  <a:gd name="connsiteX0" fmla="*/ 196789 w 196789"/>
                  <a:gd name="connsiteY0" fmla="*/ 98395 h 196789"/>
                  <a:gd name="connsiteX1" fmla="*/ 98395 w 196789"/>
                  <a:gd name="connsiteY1" fmla="*/ 196789 h 196789"/>
                  <a:gd name="connsiteX2" fmla="*/ 0 w 196789"/>
                  <a:gd name="connsiteY2" fmla="*/ 98395 h 196789"/>
                  <a:gd name="connsiteX3" fmla="*/ 98395 w 196789"/>
                  <a:gd name="connsiteY3" fmla="*/ 0 h 196789"/>
                  <a:gd name="connsiteX4" fmla="*/ 196789 w 196789"/>
                  <a:gd name="connsiteY4" fmla="*/ 98395 h 1967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96789" h="196789">
                    <a:moveTo>
                      <a:pt x="196789" y="98395"/>
                    </a:moveTo>
                    <a:cubicBezTo>
                      <a:pt x="196789" y="152737"/>
                      <a:pt x="152737" y="196789"/>
                      <a:pt x="98395" y="196789"/>
                    </a:cubicBezTo>
                    <a:cubicBezTo>
                      <a:pt x="44053" y="196789"/>
                      <a:pt x="0" y="152736"/>
                      <a:pt x="0" y="98395"/>
                    </a:cubicBezTo>
                    <a:cubicBezTo>
                      <a:pt x="0" y="44053"/>
                      <a:pt x="44053" y="0"/>
                      <a:pt x="98395" y="0"/>
                    </a:cubicBezTo>
                    <a:cubicBezTo>
                      <a:pt x="152737" y="0"/>
                      <a:pt x="196789" y="44053"/>
                      <a:pt x="196789" y="98395"/>
                    </a:cubicBezTo>
                    <a:close/>
                  </a:path>
                </a:pathLst>
              </a:custGeom>
              <a:solidFill>
                <a:srgbClr val="7A2A2A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 sz="1800"/>
              </a:p>
            </p:txBody>
          </p:sp>
          <p:sp>
            <p:nvSpPr>
              <p:cNvPr id="50" name="îş1ídè">
                <a:extLst>
                  <a:ext uri="{FF2B5EF4-FFF2-40B4-BE49-F238E27FC236}">
                    <a16:creationId xmlns:a16="http://schemas.microsoft.com/office/drawing/2014/main" id="{B2A02A28-2F33-4B00-96F6-99CE399B73E4}"/>
                  </a:ext>
                </a:extLst>
              </p:cNvPr>
              <p:cNvSpPr/>
              <p:nvPr/>
            </p:nvSpPr>
            <p:spPr>
              <a:xfrm>
                <a:off x="4007166" y="4334541"/>
                <a:ext cx="196786" cy="196786"/>
              </a:xfrm>
              <a:custGeom>
                <a:avLst/>
                <a:gdLst>
                  <a:gd name="connsiteX0" fmla="*/ 196787 w 196786"/>
                  <a:gd name="connsiteY0" fmla="*/ 98393 h 196786"/>
                  <a:gd name="connsiteX1" fmla="*/ 98393 w 196786"/>
                  <a:gd name="connsiteY1" fmla="*/ 196787 h 196786"/>
                  <a:gd name="connsiteX2" fmla="*/ 0 w 196786"/>
                  <a:gd name="connsiteY2" fmla="*/ 98393 h 196786"/>
                  <a:gd name="connsiteX3" fmla="*/ 98393 w 196786"/>
                  <a:gd name="connsiteY3" fmla="*/ 0 h 196786"/>
                  <a:gd name="connsiteX4" fmla="*/ 196787 w 196786"/>
                  <a:gd name="connsiteY4" fmla="*/ 98393 h 1967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96786" h="196786">
                    <a:moveTo>
                      <a:pt x="196787" y="98393"/>
                    </a:moveTo>
                    <a:cubicBezTo>
                      <a:pt x="196787" y="152781"/>
                      <a:pt x="152686" y="196787"/>
                      <a:pt x="98393" y="196787"/>
                    </a:cubicBezTo>
                    <a:cubicBezTo>
                      <a:pt x="44006" y="196787"/>
                      <a:pt x="0" y="152686"/>
                      <a:pt x="0" y="98393"/>
                    </a:cubicBezTo>
                    <a:cubicBezTo>
                      <a:pt x="0" y="44005"/>
                      <a:pt x="44101" y="0"/>
                      <a:pt x="98393" y="0"/>
                    </a:cubicBezTo>
                    <a:cubicBezTo>
                      <a:pt x="152781" y="0"/>
                      <a:pt x="196787" y="44101"/>
                      <a:pt x="196787" y="98393"/>
                    </a:cubicBezTo>
                    <a:close/>
                  </a:path>
                </a:pathLst>
              </a:custGeom>
              <a:solidFill>
                <a:srgbClr val="7A2A2A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 sz="1800"/>
              </a:p>
            </p:txBody>
          </p:sp>
          <p:sp>
            <p:nvSpPr>
              <p:cNvPr id="51" name="ïšľíďè">
                <a:extLst>
                  <a:ext uri="{FF2B5EF4-FFF2-40B4-BE49-F238E27FC236}">
                    <a16:creationId xmlns:a16="http://schemas.microsoft.com/office/drawing/2014/main" id="{2A5A4F81-893E-4132-9F80-2D782FB200C5}"/>
                  </a:ext>
                </a:extLst>
              </p:cNvPr>
              <p:cNvSpPr/>
              <p:nvPr/>
            </p:nvSpPr>
            <p:spPr>
              <a:xfrm>
                <a:off x="3419664" y="4559331"/>
                <a:ext cx="646556" cy="351853"/>
              </a:xfrm>
              <a:custGeom>
                <a:avLst/>
                <a:gdLst>
                  <a:gd name="connsiteX0" fmla="*/ 323279 w 646556"/>
                  <a:gd name="connsiteY0" fmla="*/ 351853 h 351853"/>
                  <a:gd name="connsiteX1" fmla="*/ 0 w 646556"/>
                  <a:gd name="connsiteY1" fmla="*/ 28575 h 351853"/>
                  <a:gd name="connsiteX2" fmla="*/ 28575 w 646556"/>
                  <a:gd name="connsiteY2" fmla="*/ 0 h 351853"/>
                  <a:gd name="connsiteX3" fmla="*/ 57150 w 646556"/>
                  <a:gd name="connsiteY3" fmla="*/ 28575 h 351853"/>
                  <a:gd name="connsiteX4" fmla="*/ 323279 w 646556"/>
                  <a:gd name="connsiteY4" fmla="*/ 294703 h 351853"/>
                  <a:gd name="connsiteX5" fmla="*/ 589407 w 646556"/>
                  <a:gd name="connsiteY5" fmla="*/ 28575 h 351853"/>
                  <a:gd name="connsiteX6" fmla="*/ 617982 w 646556"/>
                  <a:gd name="connsiteY6" fmla="*/ 0 h 351853"/>
                  <a:gd name="connsiteX7" fmla="*/ 646557 w 646556"/>
                  <a:gd name="connsiteY7" fmla="*/ 28575 h 351853"/>
                  <a:gd name="connsiteX8" fmla="*/ 323279 w 646556"/>
                  <a:gd name="connsiteY8" fmla="*/ 351853 h 3518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646556" h="351853">
                    <a:moveTo>
                      <a:pt x="323279" y="351853"/>
                    </a:moveTo>
                    <a:cubicBezTo>
                      <a:pt x="145066" y="351853"/>
                      <a:pt x="0" y="206883"/>
                      <a:pt x="0" y="28575"/>
                    </a:cubicBezTo>
                    <a:cubicBezTo>
                      <a:pt x="0" y="12763"/>
                      <a:pt x="12764" y="0"/>
                      <a:pt x="28575" y="0"/>
                    </a:cubicBezTo>
                    <a:cubicBezTo>
                      <a:pt x="44387" y="0"/>
                      <a:pt x="57150" y="12763"/>
                      <a:pt x="57150" y="28575"/>
                    </a:cubicBezTo>
                    <a:cubicBezTo>
                      <a:pt x="57150" y="175260"/>
                      <a:pt x="176498" y="294703"/>
                      <a:pt x="323279" y="294703"/>
                    </a:cubicBezTo>
                    <a:cubicBezTo>
                      <a:pt x="470059" y="294703"/>
                      <a:pt x="589407" y="175355"/>
                      <a:pt x="589407" y="28575"/>
                    </a:cubicBezTo>
                    <a:cubicBezTo>
                      <a:pt x="589407" y="12763"/>
                      <a:pt x="602171" y="0"/>
                      <a:pt x="617982" y="0"/>
                    </a:cubicBezTo>
                    <a:cubicBezTo>
                      <a:pt x="633794" y="0"/>
                      <a:pt x="646557" y="12763"/>
                      <a:pt x="646557" y="28575"/>
                    </a:cubicBezTo>
                    <a:cubicBezTo>
                      <a:pt x="646462" y="206883"/>
                      <a:pt x="501491" y="351853"/>
                      <a:pt x="323279" y="351853"/>
                    </a:cubicBezTo>
                    <a:close/>
                  </a:path>
                </a:pathLst>
              </a:custGeom>
              <a:solidFill>
                <a:srgbClr val="883827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 sz="1800"/>
              </a:p>
            </p:txBody>
          </p:sp>
          <p:sp>
            <p:nvSpPr>
              <p:cNvPr id="52" name="ïṧľîďè">
                <a:extLst>
                  <a:ext uri="{FF2B5EF4-FFF2-40B4-BE49-F238E27FC236}">
                    <a16:creationId xmlns:a16="http://schemas.microsoft.com/office/drawing/2014/main" id="{F86CF3AE-9988-401B-A270-F0ABDFFD8890}"/>
                  </a:ext>
                </a:extLst>
              </p:cNvPr>
              <p:cNvSpPr/>
              <p:nvPr/>
            </p:nvSpPr>
            <p:spPr>
              <a:xfrm>
                <a:off x="4287297" y="4086891"/>
                <a:ext cx="298513" cy="298513"/>
              </a:xfrm>
              <a:custGeom>
                <a:avLst/>
                <a:gdLst>
                  <a:gd name="connsiteX0" fmla="*/ 298513 w 298513"/>
                  <a:gd name="connsiteY0" fmla="*/ 149257 h 298513"/>
                  <a:gd name="connsiteX1" fmla="*/ 149257 w 298513"/>
                  <a:gd name="connsiteY1" fmla="*/ 298513 h 298513"/>
                  <a:gd name="connsiteX2" fmla="*/ 0 w 298513"/>
                  <a:gd name="connsiteY2" fmla="*/ 149257 h 298513"/>
                  <a:gd name="connsiteX3" fmla="*/ 149257 w 298513"/>
                  <a:gd name="connsiteY3" fmla="*/ 0 h 298513"/>
                  <a:gd name="connsiteX4" fmla="*/ 298513 w 298513"/>
                  <a:gd name="connsiteY4" fmla="*/ 149257 h 2985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98513" h="298513">
                    <a:moveTo>
                      <a:pt x="298513" y="149257"/>
                    </a:moveTo>
                    <a:cubicBezTo>
                      <a:pt x="298513" y="231648"/>
                      <a:pt x="231648" y="298513"/>
                      <a:pt x="149257" y="298513"/>
                    </a:cubicBezTo>
                    <a:cubicBezTo>
                      <a:pt x="66866" y="298513"/>
                      <a:pt x="0" y="231743"/>
                      <a:pt x="0" y="149257"/>
                    </a:cubicBezTo>
                    <a:cubicBezTo>
                      <a:pt x="0" y="66865"/>
                      <a:pt x="66770" y="0"/>
                      <a:pt x="149257" y="0"/>
                    </a:cubicBezTo>
                    <a:cubicBezTo>
                      <a:pt x="231648" y="0"/>
                      <a:pt x="298513" y="66770"/>
                      <a:pt x="298513" y="149257"/>
                    </a:cubicBezTo>
                    <a:close/>
                  </a:path>
                </a:pathLst>
              </a:custGeom>
              <a:solidFill>
                <a:srgbClr val="F2EED7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 sz="1800"/>
              </a:p>
            </p:txBody>
          </p:sp>
          <p:sp>
            <p:nvSpPr>
              <p:cNvPr id="53" name="îšḷíde">
                <a:extLst>
                  <a:ext uri="{FF2B5EF4-FFF2-40B4-BE49-F238E27FC236}">
                    <a16:creationId xmlns:a16="http://schemas.microsoft.com/office/drawing/2014/main" id="{DD205683-F6B2-477E-99A0-FA0CB422E5EF}"/>
                  </a:ext>
                </a:extLst>
              </p:cNvPr>
              <p:cNvSpPr/>
              <p:nvPr/>
            </p:nvSpPr>
            <p:spPr>
              <a:xfrm>
                <a:off x="3510057" y="4474273"/>
                <a:ext cx="459009" cy="219075"/>
              </a:xfrm>
              <a:custGeom>
                <a:avLst/>
                <a:gdLst>
                  <a:gd name="connsiteX0" fmla="*/ 459010 w 459009"/>
                  <a:gd name="connsiteY0" fmla="*/ 109538 h 219075"/>
                  <a:gd name="connsiteX1" fmla="*/ 229457 w 459009"/>
                  <a:gd name="connsiteY1" fmla="*/ 219075 h 219075"/>
                  <a:gd name="connsiteX2" fmla="*/ 0 w 459009"/>
                  <a:gd name="connsiteY2" fmla="*/ 109538 h 219075"/>
                  <a:gd name="connsiteX3" fmla="*/ 229457 w 459009"/>
                  <a:gd name="connsiteY3" fmla="*/ 0 h 219075"/>
                  <a:gd name="connsiteX4" fmla="*/ 459010 w 459009"/>
                  <a:gd name="connsiteY4" fmla="*/ 109538 h 2190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59009" h="219075">
                    <a:moveTo>
                      <a:pt x="459010" y="109538"/>
                    </a:moveTo>
                    <a:cubicBezTo>
                      <a:pt x="459010" y="170021"/>
                      <a:pt x="356235" y="219075"/>
                      <a:pt x="229457" y="219075"/>
                    </a:cubicBezTo>
                    <a:cubicBezTo>
                      <a:pt x="102679" y="219075"/>
                      <a:pt x="0" y="170021"/>
                      <a:pt x="0" y="109538"/>
                    </a:cubicBezTo>
                    <a:cubicBezTo>
                      <a:pt x="0" y="49054"/>
                      <a:pt x="102775" y="0"/>
                      <a:pt x="229457" y="0"/>
                    </a:cubicBezTo>
                    <a:cubicBezTo>
                      <a:pt x="356235" y="0"/>
                      <a:pt x="459010" y="49054"/>
                      <a:pt x="459010" y="109538"/>
                    </a:cubicBezTo>
                    <a:close/>
                  </a:path>
                </a:pathLst>
              </a:custGeom>
              <a:solidFill>
                <a:srgbClr val="CD3C4C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 sz="1800"/>
              </a:p>
            </p:txBody>
          </p:sp>
          <p:sp>
            <p:nvSpPr>
              <p:cNvPr id="54" name="îsḻïḓé">
                <a:extLst>
                  <a:ext uri="{FF2B5EF4-FFF2-40B4-BE49-F238E27FC236}">
                    <a16:creationId xmlns:a16="http://schemas.microsoft.com/office/drawing/2014/main" id="{ACD03E37-39FE-4258-A920-BF8F14E4E31D}"/>
                  </a:ext>
                </a:extLst>
              </p:cNvPr>
              <p:cNvSpPr/>
              <p:nvPr/>
            </p:nvSpPr>
            <p:spPr>
              <a:xfrm rot="-4703943">
                <a:off x="4116977" y="4525544"/>
                <a:ext cx="218319" cy="218319"/>
              </a:xfrm>
              <a:custGeom>
                <a:avLst/>
                <a:gdLst>
                  <a:gd name="connsiteX0" fmla="*/ 218319 w 218319"/>
                  <a:gd name="connsiteY0" fmla="*/ 109160 h 218319"/>
                  <a:gd name="connsiteX1" fmla="*/ 109160 w 218319"/>
                  <a:gd name="connsiteY1" fmla="*/ 218319 h 218319"/>
                  <a:gd name="connsiteX2" fmla="*/ 0 w 218319"/>
                  <a:gd name="connsiteY2" fmla="*/ 109160 h 218319"/>
                  <a:gd name="connsiteX3" fmla="*/ 109160 w 218319"/>
                  <a:gd name="connsiteY3" fmla="*/ 0 h 218319"/>
                  <a:gd name="connsiteX4" fmla="*/ 218319 w 218319"/>
                  <a:gd name="connsiteY4" fmla="*/ 109160 h 2183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18319" h="218319">
                    <a:moveTo>
                      <a:pt x="218319" y="109160"/>
                    </a:moveTo>
                    <a:cubicBezTo>
                      <a:pt x="218319" y="169447"/>
                      <a:pt x="169447" y="218319"/>
                      <a:pt x="109160" y="218319"/>
                    </a:cubicBezTo>
                    <a:cubicBezTo>
                      <a:pt x="48872" y="218319"/>
                      <a:pt x="0" y="169447"/>
                      <a:pt x="0" y="109160"/>
                    </a:cubicBezTo>
                    <a:cubicBezTo>
                      <a:pt x="0" y="48872"/>
                      <a:pt x="48872" y="0"/>
                      <a:pt x="109160" y="0"/>
                    </a:cubicBezTo>
                    <a:cubicBezTo>
                      <a:pt x="169447" y="0"/>
                      <a:pt x="218319" y="48873"/>
                      <a:pt x="218319" y="109160"/>
                    </a:cubicBezTo>
                    <a:close/>
                  </a:path>
                </a:pathLst>
              </a:custGeom>
              <a:solidFill>
                <a:srgbClr val="F5898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 sz="1800"/>
              </a:p>
            </p:txBody>
          </p:sp>
          <p:sp>
            <p:nvSpPr>
              <p:cNvPr id="55" name="íSḷïde">
                <a:extLst>
                  <a:ext uri="{FF2B5EF4-FFF2-40B4-BE49-F238E27FC236}">
                    <a16:creationId xmlns:a16="http://schemas.microsoft.com/office/drawing/2014/main" id="{69D452C7-95E3-4011-B7B8-2BDD60201CD8}"/>
                  </a:ext>
                </a:extLst>
              </p:cNvPr>
              <p:cNvSpPr/>
              <p:nvPr/>
            </p:nvSpPr>
            <p:spPr>
              <a:xfrm rot="-5209801">
                <a:off x="3131026" y="4525426"/>
                <a:ext cx="218319" cy="218319"/>
              </a:xfrm>
              <a:custGeom>
                <a:avLst/>
                <a:gdLst>
                  <a:gd name="connsiteX0" fmla="*/ 218320 w 218319"/>
                  <a:gd name="connsiteY0" fmla="*/ 109160 h 218319"/>
                  <a:gd name="connsiteX1" fmla="*/ 109160 w 218319"/>
                  <a:gd name="connsiteY1" fmla="*/ 218320 h 218319"/>
                  <a:gd name="connsiteX2" fmla="*/ 0 w 218319"/>
                  <a:gd name="connsiteY2" fmla="*/ 109160 h 218319"/>
                  <a:gd name="connsiteX3" fmla="*/ 109160 w 218319"/>
                  <a:gd name="connsiteY3" fmla="*/ 0 h 218319"/>
                  <a:gd name="connsiteX4" fmla="*/ 218320 w 218319"/>
                  <a:gd name="connsiteY4" fmla="*/ 109160 h 2183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18319" h="218319">
                    <a:moveTo>
                      <a:pt x="218320" y="109160"/>
                    </a:moveTo>
                    <a:cubicBezTo>
                      <a:pt x="218320" y="169447"/>
                      <a:pt x="169447" y="218320"/>
                      <a:pt x="109160" y="218320"/>
                    </a:cubicBezTo>
                    <a:cubicBezTo>
                      <a:pt x="48873" y="218320"/>
                      <a:pt x="0" y="169447"/>
                      <a:pt x="0" y="109160"/>
                    </a:cubicBezTo>
                    <a:cubicBezTo>
                      <a:pt x="0" y="48872"/>
                      <a:pt x="48873" y="0"/>
                      <a:pt x="109160" y="0"/>
                    </a:cubicBezTo>
                    <a:cubicBezTo>
                      <a:pt x="169447" y="0"/>
                      <a:pt x="218320" y="48873"/>
                      <a:pt x="218320" y="109160"/>
                    </a:cubicBezTo>
                    <a:close/>
                  </a:path>
                </a:pathLst>
              </a:custGeom>
              <a:solidFill>
                <a:srgbClr val="F5898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 sz="1800"/>
              </a:p>
            </p:txBody>
          </p:sp>
          <p:sp>
            <p:nvSpPr>
              <p:cNvPr id="56" name="í$líde">
                <a:extLst>
                  <a:ext uri="{FF2B5EF4-FFF2-40B4-BE49-F238E27FC236}">
                    <a16:creationId xmlns:a16="http://schemas.microsoft.com/office/drawing/2014/main" id="{39F2863F-19B2-4210-9F47-355E7199ED1F}"/>
                  </a:ext>
                </a:extLst>
              </p:cNvPr>
              <p:cNvSpPr/>
              <p:nvPr/>
            </p:nvSpPr>
            <p:spPr>
              <a:xfrm>
                <a:off x="3240023" y="5425344"/>
                <a:ext cx="1037081" cy="644366"/>
              </a:xfrm>
              <a:custGeom>
                <a:avLst/>
                <a:gdLst>
                  <a:gd name="connsiteX0" fmla="*/ 518541 w 1037081"/>
                  <a:gd name="connsiteY0" fmla="*/ 0 h 644366"/>
                  <a:gd name="connsiteX1" fmla="*/ 0 w 1037081"/>
                  <a:gd name="connsiteY1" fmla="*/ 495110 h 644366"/>
                  <a:gd name="connsiteX2" fmla="*/ 518541 w 1037081"/>
                  <a:gd name="connsiteY2" fmla="*/ 644366 h 644366"/>
                  <a:gd name="connsiteX3" fmla="*/ 1037082 w 1037081"/>
                  <a:gd name="connsiteY3" fmla="*/ 495110 h 644366"/>
                  <a:gd name="connsiteX4" fmla="*/ 518541 w 1037081"/>
                  <a:gd name="connsiteY4" fmla="*/ 0 h 6443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037081" h="644366">
                    <a:moveTo>
                      <a:pt x="518541" y="0"/>
                    </a:moveTo>
                    <a:cubicBezTo>
                      <a:pt x="239839" y="0"/>
                      <a:pt x="12573" y="219551"/>
                      <a:pt x="0" y="495110"/>
                    </a:cubicBezTo>
                    <a:cubicBezTo>
                      <a:pt x="150209" y="589693"/>
                      <a:pt x="327946" y="644366"/>
                      <a:pt x="518541" y="644366"/>
                    </a:cubicBezTo>
                    <a:cubicBezTo>
                      <a:pt x="709136" y="644366"/>
                      <a:pt x="886873" y="589597"/>
                      <a:pt x="1037082" y="495110"/>
                    </a:cubicBezTo>
                    <a:cubicBezTo>
                      <a:pt x="1024509" y="219646"/>
                      <a:pt x="797243" y="0"/>
                      <a:pt x="518541" y="0"/>
                    </a:cubicBezTo>
                    <a:close/>
                  </a:path>
                </a:pathLst>
              </a:custGeom>
              <a:solidFill>
                <a:srgbClr val="DDCFA3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 sz="1800"/>
              </a:p>
            </p:txBody>
          </p:sp>
          <p:sp>
            <p:nvSpPr>
              <p:cNvPr id="57" name="îśliḍé">
                <a:extLst>
                  <a:ext uri="{FF2B5EF4-FFF2-40B4-BE49-F238E27FC236}">
                    <a16:creationId xmlns:a16="http://schemas.microsoft.com/office/drawing/2014/main" id="{687F399E-BB4A-4CFF-8FE4-2BC08EBFB3BB}"/>
                  </a:ext>
                </a:extLst>
              </p:cNvPr>
              <p:cNvSpPr/>
              <p:nvPr/>
            </p:nvSpPr>
            <p:spPr>
              <a:xfrm>
                <a:off x="3780662" y="4517326"/>
                <a:ext cx="51054" cy="51053"/>
              </a:xfrm>
              <a:custGeom>
                <a:avLst/>
                <a:gdLst>
                  <a:gd name="connsiteX0" fmla="*/ 51054 w 51054"/>
                  <a:gd name="connsiteY0" fmla="*/ 25527 h 51053"/>
                  <a:gd name="connsiteX1" fmla="*/ 25527 w 51054"/>
                  <a:gd name="connsiteY1" fmla="*/ 51054 h 51053"/>
                  <a:gd name="connsiteX2" fmla="*/ 0 w 51054"/>
                  <a:gd name="connsiteY2" fmla="*/ 25527 h 51053"/>
                  <a:gd name="connsiteX3" fmla="*/ 25527 w 51054"/>
                  <a:gd name="connsiteY3" fmla="*/ 0 h 51053"/>
                  <a:gd name="connsiteX4" fmla="*/ 51054 w 51054"/>
                  <a:gd name="connsiteY4" fmla="*/ 25527 h 510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1054" h="51053">
                    <a:moveTo>
                      <a:pt x="51054" y="25527"/>
                    </a:moveTo>
                    <a:cubicBezTo>
                      <a:pt x="51054" y="39624"/>
                      <a:pt x="39624" y="51054"/>
                      <a:pt x="25527" y="51054"/>
                    </a:cubicBezTo>
                    <a:cubicBezTo>
                      <a:pt x="11430" y="51054"/>
                      <a:pt x="0" y="39624"/>
                      <a:pt x="0" y="25527"/>
                    </a:cubicBezTo>
                    <a:cubicBezTo>
                      <a:pt x="0" y="11430"/>
                      <a:pt x="11430" y="0"/>
                      <a:pt x="25527" y="0"/>
                    </a:cubicBezTo>
                    <a:cubicBezTo>
                      <a:pt x="39624" y="0"/>
                      <a:pt x="51054" y="11430"/>
                      <a:pt x="51054" y="25527"/>
                    </a:cubicBezTo>
                    <a:close/>
                  </a:path>
                </a:pathLst>
              </a:custGeom>
              <a:solidFill>
                <a:srgbClr val="F2EED7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 sz="1800"/>
              </a:p>
            </p:txBody>
          </p:sp>
          <p:sp>
            <p:nvSpPr>
              <p:cNvPr id="58" name="îṥļíḍé">
                <a:extLst>
                  <a:ext uri="{FF2B5EF4-FFF2-40B4-BE49-F238E27FC236}">
                    <a16:creationId xmlns:a16="http://schemas.microsoft.com/office/drawing/2014/main" id="{EB854CEA-FE0E-460F-9C08-0DF17CB3D6D7}"/>
                  </a:ext>
                </a:extLst>
              </p:cNvPr>
              <p:cNvSpPr/>
              <p:nvPr/>
            </p:nvSpPr>
            <p:spPr>
              <a:xfrm>
                <a:off x="3520471" y="4517326"/>
                <a:ext cx="421354" cy="166577"/>
              </a:xfrm>
              <a:custGeom>
                <a:avLst/>
                <a:gdLst>
                  <a:gd name="connsiteX0" fmla="*/ 421354 w 421354"/>
                  <a:gd name="connsiteY0" fmla="*/ 92678 h 166577"/>
                  <a:gd name="connsiteX1" fmla="*/ 47974 w 421354"/>
                  <a:gd name="connsiteY1" fmla="*/ 0 h 166577"/>
                  <a:gd name="connsiteX2" fmla="*/ 2349 w 421354"/>
                  <a:gd name="connsiteY2" fmla="*/ 85915 h 166577"/>
                  <a:gd name="connsiteX3" fmla="*/ 421354 w 421354"/>
                  <a:gd name="connsiteY3" fmla="*/ 92678 h 1665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21354" h="166577">
                    <a:moveTo>
                      <a:pt x="421354" y="92678"/>
                    </a:moveTo>
                    <a:cubicBezTo>
                      <a:pt x="421354" y="92678"/>
                      <a:pt x="174276" y="202787"/>
                      <a:pt x="47974" y="0"/>
                    </a:cubicBezTo>
                    <a:cubicBezTo>
                      <a:pt x="47974" y="0"/>
                      <a:pt x="-12510" y="41624"/>
                      <a:pt x="2349" y="85915"/>
                    </a:cubicBezTo>
                    <a:cubicBezTo>
                      <a:pt x="17113" y="130302"/>
                      <a:pt x="270954" y="239077"/>
                      <a:pt x="421354" y="92678"/>
                    </a:cubicBezTo>
                    <a:close/>
                  </a:path>
                </a:pathLst>
              </a:custGeom>
              <a:solidFill>
                <a:srgbClr val="B53A3C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 sz="1800"/>
              </a:p>
            </p:txBody>
          </p:sp>
          <p:sp>
            <p:nvSpPr>
              <p:cNvPr id="59" name="ísḻiḓê">
                <a:extLst>
                  <a:ext uri="{FF2B5EF4-FFF2-40B4-BE49-F238E27FC236}">
                    <a16:creationId xmlns:a16="http://schemas.microsoft.com/office/drawing/2014/main" id="{BE84FD3F-5987-4B7C-82D5-0A27F0A6588A}"/>
                  </a:ext>
                </a:extLst>
              </p:cNvPr>
              <p:cNvSpPr/>
              <p:nvPr/>
            </p:nvSpPr>
            <p:spPr>
              <a:xfrm>
                <a:off x="4335207" y="4204430"/>
                <a:ext cx="162687" cy="162687"/>
              </a:xfrm>
              <a:custGeom>
                <a:avLst/>
                <a:gdLst>
                  <a:gd name="connsiteX0" fmla="*/ 162687 w 162687"/>
                  <a:gd name="connsiteY0" fmla="*/ 81344 h 162687"/>
                  <a:gd name="connsiteX1" fmla="*/ 81343 w 162687"/>
                  <a:gd name="connsiteY1" fmla="*/ 162687 h 162687"/>
                  <a:gd name="connsiteX2" fmla="*/ 0 w 162687"/>
                  <a:gd name="connsiteY2" fmla="*/ 81344 h 162687"/>
                  <a:gd name="connsiteX3" fmla="*/ 81343 w 162687"/>
                  <a:gd name="connsiteY3" fmla="*/ 0 h 162687"/>
                  <a:gd name="connsiteX4" fmla="*/ 162687 w 162687"/>
                  <a:gd name="connsiteY4" fmla="*/ 81344 h 1626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2687" h="162687">
                    <a:moveTo>
                      <a:pt x="162687" y="81344"/>
                    </a:moveTo>
                    <a:cubicBezTo>
                      <a:pt x="162687" y="126302"/>
                      <a:pt x="126301" y="162687"/>
                      <a:pt x="81343" y="162687"/>
                    </a:cubicBezTo>
                    <a:cubicBezTo>
                      <a:pt x="36386" y="162687"/>
                      <a:pt x="0" y="126302"/>
                      <a:pt x="0" y="81344"/>
                    </a:cubicBezTo>
                    <a:cubicBezTo>
                      <a:pt x="0" y="36386"/>
                      <a:pt x="36481" y="0"/>
                      <a:pt x="81343" y="0"/>
                    </a:cubicBezTo>
                    <a:cubicBezTo>
                      <a:pt x="126301" y="-95"/>
                      <a:pt x="162687" y="36386"/>
                      <a:pt x="162687" y="81344"/>
                    </a:cubicBezTo>
                    <a:close/>
                  </a:path>
                </a:pathLst>
              </a:custGeom>
              <a:solidFill>
                <a:srgbClr val="F5898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 sz="1800"/>
              </a:p>
            </p:txBody>
          </p:sp>
          <p:grpSp>
            <p:nvGrpSpPr>
              <p:cNvPr id="60" name="图形 5">
                <a:extLst>
                  <a:ext uri="{FF2B5EF4-FFF2-40B4-BE49-F238E27FC236}">
                    <a16:creationId xmlns:a16="http://schemas.microsoft.com/office/drawing/2014/main" id="{13B7FC60-F604-4768-A0F4-7404E75FE3C4}"/>
                  </a:ext>
                </a:extLst>
              </p:cNvPr>
              <p:cNvGrpSpPr/>
              <p:nvPr/>
            </p:nvGrpSpPr>
            <p:grpSpPr>
              <a:xfrm>
                <a:off x="3468055" y="5217318"/>
                <a:ext cx="1174905" cy="753427"/>
                <a:chOff x="3468055" y="5217318"/>
                <a:chExt cx="1174905" cy="753427"/>
              </a:xfrm>
              <a:solidFill>
                <a:srgbClr val="F2EED7">
                  <a:alpha val="50000"/>
                </a:srgbClr>
              </a:solidFill>
            </p:grpSpPr>
            <p:sp>
              <p:nvSpPr>
                <p:cNvPr id="74" name="îşlîdê">
                  <a:extLst>
                    <a:ext uri="{FF2B5EF4-FFF2-40B4-BE49-F238E27FC236}">
                      <a16:creationId xmlns:a16="http://schemas.microsoft.com/office/drawing/2014/main" id="{27DC96E5-460C-4680-9EB5-2280D956F3F4}"/>
                    </a:ext>
                  </a:extLst>
                </p:cNvPr>
                <p:cNvSpPr/>
                <p:nvPr/>
              </p:nvSpPr>
              <p:spPr>
                <a:xfrm>
                  <a:off x="3468055" y="5355720"/>
                  <a:ext cx="1127276" cy="615025"/>
                </a:xfrm>
                <a:custGeom>
                  <a:avLst/>
                  <a:gdLst>
                    <a:gd name="connsiteX0" fmla="*/ 324990 w 1127276"/>
                    <a:gd name="connsiteY0" fmla="*/ 615025 h 615025"/>
                    <a:gd name="connsiteX1" fmla="*/ 28000 w 1127276"/>
                    <a:gd name="connsiteY1" fmla="*/ 561400 h 615025"/>
                    <a:gd name="connsiteX2" fmla="*/ 2663 w 1127276"/>
                    <a:gd name="connsiteY2" fmla="*/ 506345 h 615025"/>
                    <a:gd name="connsiteX3" fmla="*/ 57718 w 1127276"/>
                    <a:gd name="connsiteY3" fmla="*/ 481009 h 615025"/>
                    <a:gd name="connsiteX4" fmla="*/ 644839 w 1127276"/>
                    <a:gd name="connsiteY4" fmla="*/ 458816 h 615025"/>
                    <a:gd name="connsiteX5" fmla="*/ 1044222 w 1127276"/>
                    <a:gd name="connsiteY5" fmla="*/ 28000 h 615025"/>
                    <a:gd name="connsiteX6" fmla="*/ 1099277 w 1127276"/>
                    <a:gd name="connsiteY6" fmla="*/ 2663 h 615025"/>
                    <a:gd name="connsiteX7" fmla="*/ 1124613 w 1127276"/>
                    <a:gd name="connsiteY7" fmla="*/ 57718 h 615025"/>
                    <a:gd name="connsiteX8" fmla="*/ 680558 w 1127276"/>
                    <a:gd name="connsiteY8" fmla="*/ 536730 h 615025"/>
                    <a:gd name="connsiteX9" fmla="*/ 324990 w 1127276"/>
                    <a:gd name="connsiteY9" fmla="*/ 615025 h 61502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1127276" h="615025">
                      <a:moveTo>
                        <a:pt x="324990" y="615025"/>
                      </a:moveTo>
                      <a:cubicBezTo>
                        <a:pt x="224882" y="615025"/>
                        <a:pt x="124679" y="597214"/>
                        <a:pt x="28000" y="561400"/>
                      </a:cubicBezTo>
                      <a:cubicBezTo>
                        <a:pt x="5807" y="553208"/>
                        <a:pt x="-5528" y="528539"/>
                        <a:pt x="2663" y="506345"/>
                      </a:cubicBezTo>
                      <a:cubicBezTo>
                        <a:pt x="10855" y="484152"/>
                        <a:pt x="35525" y="472817"/>
                        <a:pt x="57718" y="481009"/>
                      </a:cubicBezTo>
                      <a:cubicBezTo>
                        <a:pt x="250028" y="552256"/>
                        <a:pt x="458530" y="544350"/>
                        <a:pt x="644839" y="458816"/>
                      </a:cubicBezTo>
                      <a:cubicBezTo>
                        <a:pt x="831148" y="373281"/>
                        <a:pt x="973070" y="220214"/>
                        <a:pt x="1044222" y="28000"/>
                      </a:cubicBezTo>
                      <a:cubicBezTo>
                        <a:pt x="1052414" y="5807"/>
                        <a:pt x="1077084" y="-5528"/>
                        <a:pt x="1099277" y="2663"/>
                      </a:cubicBezTo>
                      <a:cubicBezTo>
                        <a:pt x="1121470" y="10855"/>
                        <a:pt x="1132805" y="35525"/>
                        <a:pt x="1124613" y="57718"/>
                      </a:cubicBezTo>
                      <a:cubicBezTo>
                        <a:pt x="1045461" y="271459"/>
                        <a:pt x="887727" y="441576"/>
                        <a:pt x="680558" y="536730"/>
                      </a:cubicBezTo>
                      <a:cubicBezTo>
                        <a:pt x="567210" y="588832"/>
                        <a:pt x="446338" y="615025"/>
                        <a:pt x="324990" y="615025"/>
                      </a:cubicBezTo>
                      <a:close/>
                    </a:path>
                  </a:pathLst>
                </a:custGeom>
                <a:solidFill>
                  <a:srgbClr val="F2EED7">
                    <a:alpha val="50000"/>
                  </a:srgbClr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 sz="1800"/>
                </a:p>
              </p:txBody>
            </p:sp>
            <p:sp>
              <p:nvSpPr>
                <p:cNvPr id="75" name="îSḷiḋé">
                  <a:extLst>
                    <a:ext uri="{FF2B5EF4-FFF2-40B4-BE49-F238E27FC236}">
                      <a16:creationId xmlns:a16="http://schemas.microsoft.com/office/drawing/2014/main" id="{BD3B1639-730C-445D-9D98-2C4137B5379F}"/>
                    </a:ext>
                  </a:extLst>
                </p:cNvPr>
                <p:cNvSpPr/>
                <p:nvPr/>
              </p:nvSpPr>
              <p:spPr>
                <a:xfrm>
                  <a:off x="4543138" y="5217318"/>
                  <a:ext cx="99821" cy="99822"/>
                </a:xfrm>
                <a:custGeom>
                  <a:avLst/>
                  <a:gdLst>
                    <a:gd name="connsiteX0" fmla="*/ 49911 w 99821"/>
                    <a:gd name="connsiteY0" fmla="*/ 99822 h 99822"/>
                    <a:gd name="connsiteX1" fmla="*/ 0 w 99821"/>
                    <a:gd name="connsiteY1" fmla="*/ 49911 h 99822"/>
                    <a:gd name="connsiteX2" fmla="*/ 49911 w 99821"/>
                    <a:gd name="connsiteY2" fmla="*/ 0 h 99822"/>
                    <a:gd name="connsiteX3" fmla="*/ 99822 w 99821"/>
                    <a:gd name="connsiteY3" fmla="*/ 49911 h 99822"/>
                    <a:gd name="connsiteX4" fmla="*/ 49911 w 99821"/>
                    <a:gd name="connsiteY4" fmla="*/ 99822 h 998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99821" h="99822">
                      <a:moveTo>
                        <a:pt x="49911" y="99822"/>
                      </a:moveTo>
                      <a:cubicBezTo>
                        <a:pt x="22384" y="99822"/>
                        <a:pt x="0" y="77438"/>
                        <a:pt x="0" y="49911"/>
                      </a:cubicBezTo>
                      <a:cubicBezTo>
                        <a:pt x="0" y="22384"/>
                        <a:pt x="22384" y="0"/>
                        <a:pt x="49911" y="0"/>
                      </a:cubicBezTo>
                      <a:cubicBezTo>
                        <a:pt x="77438" y="0"/>
                        <a:pt x="99822" y="22384"/>
                        <a:pt x="99822" y="49911"/>
                      </a:cubicBezTo>
                      <a:cubicBezTo>
                        <a:pt x="99822" y="77438"/>
                        <a:pt x="77438" y="99822"/>
                        <a:pt x="49911" y="99822"/>
                      </a:cubicBezTo>
                      <a:close/>
                    </a:path>
                  </a:pathLst>
                </a:custGeom>
                <a:solidFill>
                  <a:srgbClr val="F2EED7">
                    <a:alpha val="50000"/>
                  </a:srgbClr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 sz="1800"/>
                </a:p>
              </p:txBody>
            </p:sp>
          </p:grpSp>
          <p:sp>
            <p:nvSpPr>
              <p:cNvPr id="61" name="ï$ḷîḓê">
                <a:extLst>
                  <a:ext uri="{FF2B5EF4-FFF2-40B4-BE49-F238E27FC236}">
                    <a16:creationId xmlns:a16="http://schemas.microsoft.com/office/drawing/2014/main" id="{08F61AC2-3A31-43DF-A7B3-7074D6860BA1}"/>
                  </a:ext>
                </a:extLst>
              </p:cNvPr>
              <p:cNvSpPr/>
              <p:nvPr/>
            </p:nvSpPr>
            <p:spPr>
              <a:xfrm>
                <a:off x="2759772" y="5025390"/>
                <a:ext cx="1977675" cy="398049"/>
              </a:xfrm>
              <a:custGeom>
                <a:avLst/>
                <a:gdLst>
                  <a:gd name="connsiteX0" fmla="*/ 1976438 w 1977675"/>
                  <a:gd name="connsiteY0" fmla="*/ 0 h 398049"/>
                  <a:gd name="connsiteX1" fmla="*/ 1238 w 1977675"/>
                  <a:gd name="connsiteY1" fmla="*/ 0 h 398049"/>
                  <a:gd name="connsiteX2" fmla="*/ 0 w 1977675"/>
                  <a:gd name="connsiteY2" fmla="*/ 48578 h 398049"/>
                  <a:gd name="connsiteX3" fmla="*/ 65532 w 1977675"/>
                  <a:gd name="connsiteY3" fmla="*/ 398050 h 398049"/>
                  <a:gd name="connsiteX4" fmla="*/ 1912144 w 1977675"/>
                  <a:gd name="connsiteY4" fmla="*/ 398050 h 398049"/>
                  <a:gd name="connsiteX5" fmla="*/ 1977676 w 1977675"/>
                  <a:gd name="connsiteY5" fmla="*/ 48578 h 398049"/>
                  <a:gd name="connsiteX6" fmla="*/ 1976438 w 1977675"/>
                  <a:gd name="connsiteY6" fmla="*/ 0 h 3980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977675" h="398049">
                    <a:moveTo>
                      <a:pt x="1976438" y="0"/>
                    </a:moveTo>
                    <a:lnTo>
                      <a:pt x="1238" y="0"/>
                    </a:lnTo>
                    <a:cubicBezTo>
                      <a:pt x="476" y="16097"/>
                      <a:pt x="0" y="32290"/>
                      <a:pt x="0" y="48578"/>
                    </a:cubicBezTo>
                    <a:cubicBezTo>
                      <a:pt x="0" y="171736"/>
                      <a:pt x="23241" y="289560"/>
                      <a:pt x="65532" y="398050"/>
                    </a:cubicBezTo>
                    <a:lnTo>
                      <a:pt x="1912144" y="398050"/>
                    </a:lnTo>
                    <a:cubicBezTo>
                      <a:pt x="1954435" y="289560"/>
                      <a:pt x="1977676" y="171736"/>
                      <a:pt x="1977676" y="48578"/>
                    </a:cubicBezTo>
                    <a:cubicBezTo>
                      <a:pt x="1977676" y="32385"/>
                      <a:pt x="1977200" y="16192"/>
                      <a:pt x="1976438" y="0"/>
                    </a:cubicBezTo>
                    <a:close/>
                  </a:path>
                </a:pathLst>
              </a:custGeom>
              <a:solidFill>
                <a:srgbClr val="CD3C4C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 sz="1800"/>
              </a:p>
            </p:txBody>
          </p:sp>
          <p:sp>
            <p:nvSpPr>
              <p:cNvPr id="62" name="ïṥḷíḋe">
                <a:extLst>
                  <a:ext uri="{FF2B5EF4-FFF2-40B4-BE49-F238E27FC236}">
                    <a16:creationId xmlns:a16="http://schemas.microsoft.com/office/drawing/2014/main" id="{D76BB921-0C10-4D1E-B0A9-EBB59DAF3CD4}"/>
                  </a:ext>
                </a:extLst>
              </p:cNvPr>
              <p:cNvSpPr/>
              <p:nvPr/>
            </p:nvSpPr>
            <p:spPr>
              <a:xfrm>
                <a:off x="3666362" y="4958715"/>
                <a:ext cx="549878" cy="919924"/>
              </a:xfrm>
              <a:custGeom>
                <a:avLst/>
                <a:gdLst>
                  <a:gd name="connsiteX0" fmla="*/ 549878 w 549878"/>
                  <a:gd name="connsiteY0" fmla="*/ 807625 h 919924"/>
                  <a:gd name="connsiteX1" fmla="*/ 361759 w 549878"/>
                  <a:gd name="connsiteY1" fmla="*/ 132683 h 919924"/>
                  <a:gd name="connsiteX2" fmla="*/ 331565 w 549878"/>
                  <a:gd name="connsiteY2" fmla="*/ 0 h 919924"/>
                  <a:gd name="connsiteX3" fmla="*/ 0 w 549878"/>
                  <a:gd name="connsiteY3" fmla="*/ 41338 h 919924"/>
                  <a:gd name="connsiteX4" fmla="*/ 118586 w 549878"/>
                  <a:gd name="connsiteY4" fmla="*/ 919924 h 9199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49878" h="919924">
                    <a:moveTo>
                      <a:pt x="549878" y="807625"/>
                    </a:moveTo>
                    <a:lnTo>
                      <a:pt x="361759" y="132683"/>
                    </a:lnTo>
                    <a:lnTo>
                      <a:pt x="331565" y="0"/>
                    </a:lnTo>
                    <a:lnTo>
                      <a:pt x="0" y="41338"/>
                    </a:lnTo>
                    <a:lnTo>
                      <a:pt x="118586" y="919924"/>
                    </a:lnTo>
                    <a:close/>
                  </a:path>
                </a:pathLst>
              </a:custGeom>
              <a:solidFill>
                <a:srgbClr val="CD3C4C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 sz="1800"/>
              </a:p>
            </p:txBody>
          </p:sp>
          <p:sp>
            <p:nvSpPr>
              <p:cNvPr id="63" name="iṧḷiḋê">
                <a:extLst>
                  <a:ext uri="{FF2B5EF4-FFF2-40B4-BE49-F238E27FC236}">
                    <a16:creationId xmlns:a16="http://schemas.microsoft.com/office/drawing/2014/main" id="{7715D87F-7B43-4BBB-B870-0A25E1A1AC89}"/>
                  </a:ext>
                </a:extLst>
              </p:cNvPr>
              <p:cNvSpPr/>
              <p:nvPr/>
            </p:nvSpPr>
            <p:spPr>
              <a:xfrm>
                <a:off x="3655123" y="5362765"/>
                <a:ext cx="475868" cy="140493"/>
              </a:xfrm>
              <a:custGeom>
                <a:avLst/>
                <a:gdLst>
                  <a:gd name="connsiteX0" fmla="*/ 0 w 475868"/>
                  <a:gd name="connsiteY0" fmla="*/ 140494 h 140493"/>
                  <a:gd name="connsiteX1" fmla="*/ 475869 w 475868"/>
                  <a:gd name="connsiteY1" fmla="*/ 0 h 1404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5868" h="140493">
                    <a:moveTo>
                      <a:pt x="0" y="140494"/>
                    </a:moveTo>
                    <a:lnTo>
                      <a:pt x="475869" y="0"/>
                    </a:lnTo>
                  </a:path>
                </a:pathLst>
              </a:custGeom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 sz="1800"/>
              </a:p>
            </p:txBody>
          </p:sp>
          <p:sp>
            <p:nvSpPr>
              <p:cNvPr id="64" name="i$ľíďe">
                <a:extLst>
                  <a:ext uri="{FF2B5EF4-FFF2-40B4-BE49-F238E27FC236}">
                    <a16:creationId xmlns:a16="http://schemas.microsoft.com/office/drawing/2014/main" id="{934E95DD-FE61-46E9-847A-4F937C620E7A}"/>
                  </a:ext>
                </a:extLst>
              </p:cNvPr>
              <p:cNvSpPr/>
              <p:nvPr/>
            </p:nvSpPr>
            <p:spPr>
              <a:xfrm>
                <a:off x="3720750" y="5538978"/>
                <a:ext cx="546925" cy="209550"/>
              </a:xfrm>
              <a:custGeom>
                <a:avLst/>
                <a:gdLst>
                  <a:gd name="connsiteX0" fmla="*/ 0 w 546925"/>
                  <a:gd name="connsiteY0" fmla="*/ 209550 h 209550"/>
                  <a:gd name="connsiteX1" fmla="*/ 546926 w 546925"/>
                  <a:gd name="connsiteY1" fmla="*/ 0 h 2095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46925" h="209550">
                    <a:moveTo>
                      <a:pt x="0" y="209550"/>
                    </a:moveTo>
                    <a:lnTo>
                      <a:pt x="546926" y="0"/>
                    </a:lnTo>
                  </a:path>
                </a:pathLst>
              </a:custGeom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 sz="1800"/>
              </a:p>
            </p:txBody>
          </p:sp>
          <p:sp>
            <p:nvSpPr>
              <p:cNvPr id="65" name="ïşlíḍè">
                <a:extLst>
                  <a:ext uri="{FF2B5EF4-FFF2-40B4-BE49-F238E27FC236}">
                    <a16:creationId xmlns:a16="http://schemas.microsoft.com/office/drawing/2014/main" id="{77B58CDE-2527-4B35-A213-BB36AED21729}"/>
                  </a:ext>
                </a:extLst>
              </p:cNvPr>
              <p:cNvSpPr/>
              <p:nvPr/>
            </p:nvSpPr>
            <p:spPr>
              <a:xfrm>
                <a:off x="3666362" y="4958715"/>
                <a:ext cx="367283" cy="225170"/>
              </a:xfrm>
              <a:custGeom>
                <a:avLst/>
                <a:gdLst>
                  <a:gd name="connsiteX0" fmla="*/ 361759 w 367283"/>
                  <a:gd name="connsiteY0" fmla="*/ 132683 h 225170"/>
                  <a:gd name="connsiteX1" fmla="*/ 331565 w 367283"/>
                  <a:gd name="connsiteY1" fmla="*/ 0 h 225170"/>
                  <a:gd name="connsiteX2" fmla="*/ 0 w 367283"/>
                  <a:gd name="connsiteY2" fmla="*/ 41338 h 225170"/>
                  <a:gd name="connsiteX3" fmla="*/ 24860 w 367283"/>
                  <a:gd name="connsiteY3" fmla="*/ 225171 h 225170"/>
                  <a:gd name="connsiteX4" fmla="*/ 367284 w 367283"/>
                  <a:gd name="connsiteY4" fmla="*/ 152781 h 2251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67283" h="225170">
                    <a:moveTo>
                      <a:pt x="361759" y="132683"/>
                    </a:moveTo>
                    <a:lnTo>
                      <a:pt x="331565" y="0"/>
                    </a:lnTo>
                    <a:lnTo>
                      <a:pt x="0" y="41338"/>
                    </a:lnTo>
                    <a:lnTo>
                      <a:pt x="24860" y="225171"/>
                    </a:lnTo>
                    <a:lnTo>
                      <a:pt x="367284" y="152781"/>
                    </a:lnTo>
                    <a:close/>
                  </a:path>
                </a:pathLst>
              </a:custGeom>
              <a:solidFill>
                <a:srgbClr val="637B36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 sz="1800"/>
              </a:p>
            </p:txBody>
          </p:sp>
          <p:sp>
            <p:nvSpPr>
              <p:cNvPr id="66" name="îṥlïḍe">
                <a:extLst>
                  <a:ext uri="{FF2B5EF4-FFF2-40B4-BE49-F238E27FC236}">
                    <a16:creationId xmlns:a16="http://schemas.microsoft.com/office/drawing/2014/main" id="{277C5D9F-3874-4A26-A760-12935B4C87DC}"/>
                  </a:ext>
                </a:extLst>
              </p:cNvPr>
              <p:cNvSpPr/>
              <p:nvPr/>
            </p:nvSpPr>
            <p:spPr>
              <a:xfrm>
                <a:off x="3727798" y="5362765"/>
                <a:ext cx="439673" cy="368712"/>
              </a:xfrm>
              <a:custGeom>
                <a:avLst/>
                <a:gdLst>
                  <a:gd name="connsiteX0" fmla="*/ 375952 w 439673"/>
                  <a:gd name="connsiteY0" fmla="*/ 0 h 368712"/>
                  <a:gd name="connsiteX1" fmla="*/ 0 w 439673"/>
                  <a:gd name="connsiteY1" fmla="*/ 117920 h 368712"/>
                  <a:gd name="connsiteX2" fmla="*/ 33909 w 439673"/>
                  <a:gd name="connsiteY2" fmla="*/ 368713 h 368712"/>
                  <a:gd name="connsiteX3" fmla="*/ 439674 w 439673"/>
                  <a:gd name="connsiteY3" fmla="*/ 228505 h 3687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39673" h="368712">
                    <a:moveTo>
                      <a:pt x="375952" y="0"/>
                    </a:moveTo>
                    <a:lnTo>
                      <a:pt x="0" y="117920"/>
                    </a:lnTo>
                    <a:lnTo>
                      <a:pt x="33909" y="368713"/>
                    </a:lnTo>
                    <a:lnTo>
                      <a:pt x="439674" y="228505"/>
                    </a:lnTo>
                    <a:close/>
                  </a:path>
                </a:pathLst>
              </a:custGeom>
              <a:solidFill>
                <a:srgbClr val="637B36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 sz="1800"/>
              </a:p>
            </p:txBody>
          </p:sp>
          <p:sp>
            <p:nvSpPr>
              <p:cNvPr id="67" name="ïṧľiḋe">
                <a:extLst>
                  <a:ext uri="{FF2B5EF4-FFF2-40B4-BE49-F238E27FC236}">
                    <a16:creationId xmlns:a16="http://schemas.microsoft.com/office/drawing/2014/main" id="{BE704420-74DA-43F1-86C9-DDFD4CD51C62}"/>
                  </a:ext>
                </a:extLst>
              </p:cNvPr>
              <p:cNvSpPr/>
              <p:nvPr/>
            </p:nvSpPr>
            <p:spPr>
              <a:xfrm>
                <a:off x="3095624" y="4985575"/>
                <a:ext cx="573404" cy="894873"/>
              </a:xfrm>
              <a:custGeom>
                <a:avLst/>
                <a:gdLst>
                  <a:gd name="connsiteX0" fmla="*/ 205359 w 573404"/>
                  <a:gd name="connsiteY0" fmla="*/ 0 h 894873"/>
                  <a:gd name="connsiteX1" fmla="*/ 573405 w 573404"/>
                  <a:gd name="connsiteY1" fmla="*/ 20002 h 894873"/>
                  <a:gd name="connsiteX2" fmla="*/ 460248 w 573404"/>
                  <a:gd name="connsiteY2" fmla="*/ 894874 h 894873"/>
                  <a:gd name="connsiteX3" fmla="*/ 0 w 573404"/>
                  <a:gd name="connsiteY3" fmla="*/ 799814 h 8948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73404" h="894873">
                    <a:moveTo>
                      <a:pt x="205359" y="0"/>
                    </a:moveTo>
                    <a:lnTo>
                      <a:pt x="573405" y="20002"/>
                    </a:lnTo>
                    <a:lnTo>
                      <a:pt x="460248" y="894874"/>
                    </a:lnTo>
                    <a:lnTo>
                      <a:pt x="0" y="799814"/>
                    </a:lnTo>
                    <a:close/>
                  </a:path>
                </a:pathLst>
              </a:custGeom>
              <a:solidFill>
                <a:srgbClr val="CD3C4C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 sz="1800"/>
              </a:p>
            </p:txBody>
          </p:sp>
          <p:sp>
            <p:nvSpPr>
              <p:cNvPr id="68" name="i$ḷiḑe">
                <a:extLst>
                  <a:ext uri="{FF2B5EF4-FFF2-40B4-BE49-F238E27FC236}">
                    <a16:creationId xmlns:a16="http://schemas.microsoft.com/office/drawing/2014/main" id="{3560AA89-1356-4B74-B795-67B51CD02270}"/>
                  </a:ext>
                </a:extLst>
              </p:cNvPr>
              <p:cNvSpPr/>
              <p:nvPr/>
            </p:nvSpPr>
            <p:spPr>
              <a:xfrm>
                <a:off x="3616451" y="5005577"/>
                <a:ext cx="104298" cy="417957"/>
              </a:xfrm>
              <a:custGeom>
                <a:avLst/>
                <a:gdLst>
                  <a:gd name="connsiteX0" fmla="*/ 104299 w 104298"/>
                  <a:gd name="connsiteY0" fmla="*/ 417957 h 417957"/>
                  <a:gd name="connsiteX1" fmla="*/ 52578 w 104298"/>
                  <a:gd name="connsiteY1" fmla="*/ 0 h 417957"/>
                  <a:gd name="connsiteX2" fmla="*/ 0 w 104298"/>
                  <a:gd name="connsiteY2" fmla="*/ 417957 h 4179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04298" h="417957">
                    <a:moveTo>
                      <a:pt x="104299" y="417957"/>
                    </a:moveTo>
                    <a:lnTo>
                      <a:pt x="52578" y="0"/>
                    </a:lnTo>
                    <a:lnTo>
                      <a:pt x="0" y="417957"/>
                    </a:lnTo>
                    <a:close/>
                  </a:path>
                </a:pathLst>
              </a:custGeom>
              <a:solidFill>
                <a:srgbClr val="637B36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 sz="1800"/>
              </a:p>
            </p:txBody>
          </p:sp>
          <p:sp>
            <p:nvSpPr>
              <p:cNvPr id="69" name="íṥḷïďe">
                <a:extLst>
                  <a:ext uri="{FF2B5EF4-FFF2-40B4-BE49-F238E27FC236}">
                    <a16:creationId xmlns:a16="http://schemas.microsoft.com/office/drawing/2014/main" id="{C56A94CF-1507-40D0-8933-762EC7B8F9FC}"/>
                  </a:ext>
                </a:extLst>
              </p:cNvPr>
              <p:cNvSpPr/>
              <p:nvPr/>
            </p:nvSpPr>
            <p:spPr>
              <a:xfrm>
                <a:off x="3197446" y="5120449"/>
                <a:ext cx="457676" cy="347186"/>
              </a:xfrm>
              <a:custGeom>
                <a:avLst/>
                <a:gdLst>
                  <a:gd name="connsiteX0" fmla="*/ 457676 w 457676"/>
                  <a:gd name="connsiteY0" fmla="*/ 63437 h 347186"/>
                  <a:gd name="connsiteX1" fmla="*/ 68866 w 457676"/>
                  <a:gd name="connsiteY1" fmla="*/ 0 h 347186"/>
                  <a:gd name="connsiteX2" fmla="*/ 0 w 457676"/>
                  <a:gd name="connsiteY2" fmla="*/ 268415 h 347186"/>
                  <a:gd name="connsiteX3" fmla="*/ 411861 w 457676"/>
                  <a:gd name="connsiteY3" fmla="*/ 347186 h 3471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57676" h="347186">
                    <a:moveTo>
                      <a:pt x="457676" y="63437"/>
                    </a:moveTo>
                    <a:lnTo>
                      <a:pt x="68866" y="0"/>
                    </a:lnTo>
                    <a:lnTo>
                      <a:pt x="0" y="268415"/>
                    </a:lnTo>
                    <a:lnTo>
                      <a:pt x="411861" y="347186"/>
                    </a:lnTo>
                    <a:close/>
                  </a:path>
                </a:pathLst>
              </a:custGeom>
              <a:solidFill>
                <a:srgbClr val="637B36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 sz="1800"/>
              </a:p>
            </p:txBody>
          </p:sp>
          <p:sp>
            <p:nvSpPr>
              <p:cNvPr id="70" name="iṥlîďê">
                <a:extLst>
                  <a:ext uri="{FF2B5EF4-FFF2-40B4-BE49-F238E27FC236}">
                    <a16:creationId xmlns:a16="http://schemas.microsoft.com/office/drawing/2014/main" id="{DD3F57E4-A295-4BCB-BAE7-0B39093FFFC7}"/>
                  </a:ext>
                </a:extLst>
              </p:cNvPr>
              <p:cNvSpPr/>
              <p:nvPr/>
            </p:nvSpPr>
            <p:spPr>
              <a:xfrm>
                <a:off x="3095624" y="5598604"/>
                <a:ext cx="488822" cy="281844"/>
              </a:xfrm>
              <a:custGeom>
                <a:avLst/>
                <a:gdLst>
                  <a:gd name="connsiteX0" fmla="*/ 488823 w 488822"/>
                  <a:gd name="connsiteY0" fmla="*/ 61436 h 281844"/>
                  <a:gd name="connsiteX1" fmla="*/ 48006 w 488822"/>
                  <a:gd name="connsiteY1" fmla="*/ 0 h 281844"/>
                  <a:gd name="connsiteX2" fmla="*/ 0 w 488822"/>
                  <a:gd name="connsiteY2" fmla="*/ 186785 h 281844"/>
                  <a:gd name="connsiteX3" fmla="*/ 460248 w 488822"/>
                  <a:gd name="connsiteY3" fmla="*/ 281845 h 281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88822" h="281844">
                    <a:moveTo>
                      <a:pt x="488823" y="61436"/>
                    </a:moveTo>
                    <a:lnTo>
                      <a:pt x="48006" y="0"/>
                    </a:lnTo>
                    <a:lnTo>
                      <a:pt x="0" y="186785"/>
                    </a:lnTo>
                    <a:lnTo>
                      <a:pt x="460248" y="281845"/>
                    </a:lnTo>
                    <a:close/>
                  </a:path>
                </a:pathLst>
              </a:custGeom>
              <a:solidFill>
                <a:srgbClr val="637B36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 sz="1800"/>
              </a:p>
            </p:txBody>
          </p:sp>
          <p:sp>
            <p:nvSpPr>
              <p:cNvPr id="71" name="îṥlíḑé">
                <a:extLst>
                  <a:ext uri="{FF2B5EF4-FFF2-40B4-BE49-F238E27FC236}">
                    <a16:creationId xmlns:a16="http://schemas.microsoft.com/office/drawing/2014/main" id="{9666C202-F921-4C49-A4E6-96F22F7AA546}"/>
                  </a:ext>
                </a:extLst>
              </p:cNvPr>
              <p:cNvSpPr/>
              <p:nvPr/>
            </p:nvSpPr>
            <p:spPr>
              <a:xfrm>
                <a:off x="2756225" y="5025390"/>
                <a:ext cx="307109" cy="398049"/>
              </a:xfrm>
              <a:custGeom>
                <a:avLst/>
                <a:gdLst>
                  <a:gd name="connsiteX0" fmla="*/ 268438 w 307109"/>
                  <a:gd name="connsiteY0" fmla="*/ 0 h 398049"/>
                  <a:gd name="connsiteX1" fmla="*/ 307110 w 307109"/>
                  <a:gd name="connsiteY1" fmla="*/ 398050 h 398049"/>
                  <a:gd name="connsiteX2" fmla="*/ 69080 w 307109"/>
                  <a:gd name="connsiteY2" fmla="*/ 398050 h 398049"/>
                  <a:gd name="connsiteX3" fmla="*/ 4786 w 307109"/>
                  <a:gd name="connsiteY3" fmla="*/ 0 h 398049"/>
                  <a:gd name="connsiteX4" fmla="*/ 268438 w 307109"/>
                  <a:gd name="connsiteY4" fmla="*/ 0 h 3980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07109" h="398049">
                    <a:moveTo>
                      <a:pt x="268438" y="0"/>
                    </a:moveTo>
                    <a:lnTo>
                      <a:pt x="307110" y="398050"/>
                    </a:lnTo>
                    <a:lnTo>
                      <a:pt x="69080" y="398050"/>
                    </a:lnTo>
                    <a:cubicBezTo>
                      <a:pt x="69080" y="398050"/>
                      <a:pt x="-21503" y="220504"/>
                      <a:pt x="4786" y="0"/>
                    </a:cubicBezTo>
                    <a:lnTo>
                      <a:pt x="268438" y="0"/>
                    </a:lnTo>
                    <a:close/>
                  </a:path>
                </a:pathLst>
              </a:custGeom>
              <a:solidFill>
                <a:srgbClr val="637B36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 sz="1800"/>
              </a:p>
            </p:txBody>
          </p:sp>
          <p:sp>
            <p:nvSpPr>
              <p:cNvPr id="72" name="ïsľíḍé">
                <a:extLst>
                  <a:ext uri="{FF2B5EF4-FFF2-40B4-BE49-F238E27FC236}">
                    <a16:creationId xmlns:a16="http://schemas.microsoft.com/office/drawing/2014/main" id="{1429224D-AA2A-4D06-93D4-91012E8E93B9}"/>
                  </a:ext>
                </a:extLst>
              </p:cNvPr>
              <p:cNvSpPr/>
              <p:nvPr/>
            </p:nvSpPr>
            <p:spPr>
              <a:xfrm>
                <a:off x="4162805" y="5025390"/>
                <a:ext cx="301847" cy="398144"/>
              </a:xfrm>
              <a:custGeom>
                <a:avLst/>
                <a:gdLst>
                  <a:gd name="connsiteX0" fmla="*/ 0 w 301847"/>
                  <a:gd name="connsiteY0" fmla="*/ 0 h 398144"/>
                  <a:gd name="connsiteX1" fmla="*/ 0 w 301847"/>
                  <a:gd name="connsiteY1" fmla="*/ 398145 h 398144"/>
                  <a:gd name="connsiteX2" fmla="*/ 301847 w 301847"/>
                  <a:gd name="connsiteY2" fmla="*/ 398145 h 398144"/>
                  <a:gd name="connsiteX3" fmla="*/ 285179 w 301847"/>
                  <a:gd name="connsiteY3" fmla="*/ 0 h 3981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01847" h="398144">
                    <a:moveTo>
                      <a:pt x="0" y="0"/>
                    </a:moveTo>
                    <a:lnTo>
                      <a:pt x="0" y="398145"/>
                    </a:lnTo>
                    <a:lnTo>
                      <a:pt x="301847" y="398145"/>
                    </a:lnTo>
                    <a:lnTo>
                      <a:pt x="285179" y="0"/>
                    </a:lnTo>
                    <a:close/>
                  </a:path>
                </a:pathLst>
              </a:custGeom>
              <a:solidFill>
                <a:srgbClr val="637B36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 sz="1800"/>
              </a:p>
            </p:txBody>
          </p:sp>
          <p:sp>
            <p:nvSpPr>
              <p:cNvPr id="73" name="í$ḻíḋé">
                <a:extLst>
                  <a:ext uri="{FF2B5EF4-FFF2-40B4-BE49-F238E27FC236}">
                    <a16:creationId xmlns:a16="http://schemas.microsoft.com/office/drawing/2014/main" id="{2D933F65-44D4-443E-BA91-98838C4D2774}"/>
                  </a:ext>
                </a:extLst>
              </p:cNvPr>
              <p:cNvSpPr/>
              <p:nvPr/>
            </p:nvSpPr>
            <p:spPr>
              <a:xfrm>
                <a:off x="2780346" y="4243863"/>
                <a:ext cx="1607153" cy="1825942"/>
              </a:xfrm>
              <a:custGeom>
                <a:avLst/>
                <a:gdLst>
                  <a:gd name="connsiteX0" fmla="*/ 157163 w 1607153"/>
                  <a:gd name="connsiteY0" fmla="*/ 741712 h 1825942"/>
                  <a:gd name="connsiteX1" fmla="*/ 499586 w 1607153"/>
                  <a:gd name="connsiteY1" fmla="*/ 0 h 1825942"/>
                  <a:gd name="connsiteX2" fmla="*/ 0 w 1607153"/>
                  <a:gd name="connsiteY2" fmla="*/ 851154 h 1825942"/>
                  <a:gd name="connsiteX3" fmla="*/ 974789 w 1607153"/>
                  <a:gd name="connsiteY3" fmla="*/ 1825943 h 1825942"/>
                  <a:gd name="connsiteX4" fmla="*/ 1607153 w 1607153"/>
                  <a:gd name="connsiteY4" fmla="*/ 1592961 h 1825942"/>
                  <a:gd name="connsiteX5" fmla="*/ 1131951 w 1607153"/>
                  <a:gd name="connsiteY5" fmla="*/ 1716501 h 1825942"/>
                  <a:gd name="connsiteX6" fmla="*/ 157163 w 1607153"/>
                  <a:gd name="connsiteY6" fmla="*/ 741712 h 18259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607153" h="1825942">
                    <a:moveTo>
                      <a:pt x="157163" y="741712"/>
                    </a:moveTo>
                    <a:cubicBezTo>
                      <a:pt x="157163" y="444722"/>
                      <a:pt x="290036" y="178784"/>
                      <a:pt x="499586" y="0"/>
                    </a:cubicBezTo>
                    <a:cubicBezTo>
                      <a:pt x="201549" y="166688"/>
                      <a:pt x="0" y="485299"/>
                      <a:pt x="0" y="851154"/>
                    </a:cubicBezTo>
                    <a:cubicBezTo>
                      <a:pt x="0" y="1389507"/>
                      <a:pt x="436436" y="1825943"/>
                      <a:pt x="974789" y="1825943"/>
                    </a:cubicBezTo>
                    <a:cubicBezTo>
                      <a:pt x="1216152" y="1825943"/>
                      <a:pt x="1436942" y="1738217"/>
                      <a:pt x="1607153" y="1592961"/>
                    </a:cubicBezTo>
                    <a:cubicBezTo>
                      <a:pt x="1466564" y="1671638"/>
                      <a:pt x="1304449" y="1716501"/>
                      <a:pt x="1131951" y="1716501"/>
                    </a:cubicBezTo>
                    <a:cubicBezTo>
                      <a:pt x="593598" y="1716405"/>
                      <a:pt x="157163" y="1280065"/>
                      <a:pt x="157163" y="741712"/>
                    </a:cubicBezTo>
                    <a:close/>
                  </a:path>
                </a:pathLst>
              </a:custGeom>
              <a:solidFill>
                <a:srgbClr val="773020">
                  <a:alpha val="20000"/>
                </a:srgbClr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 sz="1800"/>
              </a:p>
            </p:txBody>
          </p:sp>
        </p:grpSp>
        <p:sp>
          <p:nvSpPr>
            <p:cNvPr id="45" name="íṧľidê">
              <a:extLst>
                <a:ext uri="{FF2B5EF4-FFF2-40B4-BE49-F238E27FC236}">
                  <a16:creationId xmlns:a16="http://schemas.microsoft.com/office/drawing/2014/main" id="{2AFA9516-3925-4E95-AD1C-1A2F3265EC00}"/>
                </a:ext>
              </a:extLst>
            </p:cNvPr>
            <p:cNvSpPr/>
            <p:nvPr/>
          </p:nvSpPr>
          <p:spPr>
            <a:xfrm>
              <a:off x="4654962" y="5025390"/>
              <a:ext cx="86105" cy="398144"/>
            </a:xfrm>
            <a:custGeom>
              <a:avLst/>
              <a:gdLst>
                <a:gd name="connsiteX0" fmla="*/ 22384 w 86105"/>
                <a:gd name="connsiteY0" fmla="*/ 398145 h 398144"/>
                <a:gd name="connsiteX1" fmla="*/ 86106 w 86105"/>
                <a:gd name="connsiteY1" fmla="*/ 49244 h 398144"/>
                <a:gd name="connsiteX2" fmla="*/ 84868 w 86105"/>
                <a:gd name="connsiteY2" fmla="*/ 0 h 398144"/>
                <a:gd name="connsiteX3" fmla="*/ 0 w 86105"/>
                <a:gd name="connsiteY3" fmla="*/ 0 h 398144"/>
                <a:gd name="connsiteX4" fmla="*/ 0 w 86105"/>
                <a:gd name="connsiteY4" fmla="*/ 398050 h 398144"/>
                <a:gd name="connsiteX5" fmla="*/ 22384 w 86105"/>
                <a:gd name="connsiteY5" fmla="*/ 398050 h 3981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86105" h="398144">
                  <a:moveTo>
                    <a:pt x="22384" y="398145"/>
                  </a:moveTo>
                  <a:cubicBezTo>
                    <a:pt x="63532" y="289655"/>
                    <a:pt x="86106" y="172117"/>
                    <a:pt x="86106" y="49244"/>
                  </a:cubicBezTo>
                  <a:cubicBezTo>
                    <a:pt x="86106" y="32766"/>
                    <a:pt x="85725" y="16383"/>
                    <a:pt x="84868" y="0"/>
                  </a:cubicBezTo>
                  <a:lnTo>
                    <a:pt x="0" y="0"/>
                  </a:lnTo>
                  <a:lnTo>
                    <a:pt x="0" y="398050"/>
                  </a:lnTo>
                  <a:lnTo>
                    <a:pt x="22384" y="398050"/>
                  </a:lnTo>
                  <a:close/>
                </a:path>
              </a:pathLst>
            </a:custGeom>
            <a:solidFill>
              <a:srgbClr val="637B36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 sz="1800"/>
            </a:p>
          </p:txBody>
        </p:sp>
      </p:grpSp>
      <p:grpSp>
        <p:nvGrpSpPr>
          <p:cNvPr id="76" name="图形 5">
            <a:extLst>
              <a:ext uri="{FF2B5EF4-FFF2-40B4-BE49-F238E27FC236}">
                <a16:creationId xmlns:a16="http://schemas.microsoft.com/office/drawing/2014/main" id="{35159B8E-B6CD-4022-BE80-E3F8A5B75A9A}"/>
              </a:ext>
            </a:extLst>
          </p:cNvPr>
          <p:cNvGrpSpPr/>
          <p:nvPr userDrawn="1"/>
        </p:nvGrpSpPr>
        <p:grpSpPr>
          <a:xfrm rot="1782324">
            <a:off x="7993511" y="4156600"/>
            <a:ext cx="4044048" cy="4044048"/>
            <a:chOff x="7651241" y="1184529"/>
            <a:chExt cx="1949576" cy="1949576"/>
          </a:xfrm>
          <a:solidFill>
            <a:schemeClr val="accent1"/>
          </a:solidFill>
        </p:grpSpPr>
        <p:grpSp>
          <p:nvGrpSpPr>
            <p:cNvPr id="77" name="图形 5">
              <a:extLst>
                <a:ext uri="{FF2B5EF4-FFF2-40B4-BE49-F238E27FC236}">
                  <a16:creationId xmlns:a16="http://schemas.microsoft.com/office/drawing/2014/main" id="{F2C9AB55-5F93-4C82-9835-CA9A88139D27}"/>
                </a:ext>
              </a:extLst>
            </p:cNvPr>
            <p:cNvGrpSpPr/>
            <p:nvPr/>
          </p:nvGrpSpPr>
          <p:grpSpPr>
            <a:xfrm>
              <a:off x="7651241" y="1184529"/>
              <a:ext cx="1949576" cy="1949576"/>
              <a:chOff x="7651241" y="1184529"/>
              <a:chExt cx="1949576" cy="1949576"/>
            </a:xfrm>
            <a:solidFill>
              <a:schemeClr val="accent1"/>
            </a:solidFill>
          </p:grpSpPr>
          <p:sp>
            <p:nvSpPr>
              <p:cNvPr id="79" name="îṧļiḓê">
                <a:extLst>
                  <a:ext uri="{FF2B5EF4-FFF2-40B4-BE49-F238E27FC236}">
                    <a16:creationId xmlns:a16="http://schemas.microsoft.com/office/drawing/2014/main" id="{CFCA002D-EBD6-4983-90B5-810F112F3D82}"/>
                  </a:ext>
                </a:extLst>
              </p:cNvPr>
              <p:cNvSpPr/>
              <p:nvPr/>
            </p:nvSpPr>
            <p:spPr>
              <a:xfrm>
                <a:off x="7651241" y="1184529"/>
                <a:ext cx="1949576" cy="1949576"/>
              </a:xfrm>
              <a:custGeom>
                <a:avLst/>
                <a:gdLst>
                  <a:gd name="connsiteX0" fmla="*/ 1949577 w 1949576"/>
                  <a:gd name="connsiteY0" fmla="*/ 974788 h 1949576"/>
                  <a:gd name="connsiteX1" fmla="*/ 974788 w 1949576"/>
                  <a:gd name="connsiteY1" fmla="*/ 1949577 h 1949576"/>
                  <a:gd name="connsiteX2" fmla="*/ 0 w 1949576"/>
                  <a:gd name="connsiteY2" fmla="*/ 974788 h 1949576"/>
                  <a:gd name="connsiteX3" fmla="*/ 974788 w 1949576"/>
                  <a:gd name="connsiteY3" fmla="*/ 0 h 1949576"/>
                  <a:gd name="connsiteX4" fmla="*/ 1949577 w 1949576"/>
                  <a:gd name="connsiteY4" fmla="*/ 974788 h 19495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949576" h="1949576">
                    <a:moveTo>
                      <a:pt x="1949577" y="974788"/>
                    </a:moveTo>
                    <a:cubicBezTo>
                      <a:pt x="1949577" y="1513142"/>
                      <a:pt x="1513141" y="1949577"/>
                      <a:pt x="974788" y="1949577"/>
                    </a:cubicBezTo>
                    <a:cubicBezTo>
                      <a:pt x="436435" y="1949577"/>
                      <a:pt x="0" y="1513142"/>
                      <a:pt x="0" y="974788"/>
                    </a:cubicBezTo>
                    <a:cubicBezTo>
                      <a:pt x="0" y="436436"/>
                      <a:pt x="436435" y="0"/>
                      <a:pt x="974788" y="0"/>
                    </a:cubicBezTo>
                    <a:cubicBezTo>
                      <a:pt x="1513141" y="0"/>
                      <a:pt x="1949577" y="436436"/>
                      <a:pt x="1949577" y="974788"/>
                    </a:cubicBezTo>
                    <a:close/>
                  </a:path>
                </a:pathLst>
              </a:custGeom>
              <a:solidFill>
                <a:srgbClr val="F2EED7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 sz="1800"/>
              </a:p>
            </p:txBody>
          </p:sp>
          <p:sp>
            <p:nvSpPr>
              <p:cNvPr id="80" name="ïsḻîḍê">
                <a:extLst>
                  <a:ext uri="{FF2B5EF4-FFF2-40B4-BE49-F238E27FC236}">
                    <a16:creationId xmlns:a16="http://schemas.microsoft.com/office/drawing/2014/main" id="{E7408B69-E620-4F7A-ABC3-FF3432B9A551}"/>
                  </a:ext>
                </a:extLst>
              </p:cNvPr>
              <p:cNvSpPr/>
              <p:nvPr/>
            </p:nvSpPr>
            <p:spPr>
              <a:xfrm>
                <a:off x="8438387" y="1319498"/>
                <a:ext cx="349472" cy="632650"/>
              </a:xfrm>
              <a:custGeom>
                <a:avLst/>
                <a:gdLst>
                  <a:gd name="connsiteX0" fmla="*/ 349472 w 349472"/>
                  <a:gd name="connsiteY0" fmla="*/ 509207 h 632650"/>
                  <a:gd name="connsiteX1" fmla="*/ 0 w 349472"/>
                  <a:gd name="connsiteY1" fmla="*/ 0 h 632650"/>
                  <a:gd name="connsiteX2" fmla="*/ 2857 w 349472"/>
                  <a:gd name="connsiteY2" fmla="*/ 632651 h 6326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49472" h="632650">
                    <a:moveTo>
                      <a:pt x="349472" y="509207"/>
                    </a:moveTo>
                    <a:lnTo>
                      <a:pt x="0" y="0"/>
                    </a:lnTo>
                    <a:lnTo>
                      <a:pt x="2857" y="632651"/>
                    </a:lnTo>
                    <a:close/>
                  </a:path>
                </a:pathLst>
              </a:custGeom>
              <a:solidFill>
                <a:srgbClr val="EBB63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 sz="1800"/>
              </a:p>
            </p:txBody>
          </p:sp>
          <p:sp>
            <p:nvSpPr>
              <p:cNvPr id="81" name="ïṧļïḋè">
                <a:extLst>
                  <a:ext uri="{FF2B5EF4-FFF2-40B4-BE49-F238E27FC236}">
                    <a16:creationId xmlns:a16="http://schemas.microsoft.com/office/drawing/2014/main" id="{A828D47A-1FC5-4AFA-A8A8-D5C959665AC1}"/>
                  </a:ext>
                </a:extLst>
              </p:cNvPr>
              <p:cNvSpPr/>
              <p:nvPr/>
            </p:nvSpPr>
            <p:spPr>
              <a:xfrm>
                <a:off x="8280367" y="1754219"/>
                <a:ext cx="646557" cy="351853"/>
              </a:xfrm>
              <a:custGeom>
                <a:avLst/>
                <a:gdLst>
                  <a:gd name="connsiteX0" fmla="*/ 323279 w 646557"/>
                  <a:gd name="connsiteY0" fmla="*/ 351854 h 351853"/>
                  <a:gd name="connsiteX1" fmla="*/ 0 w 646557"/>
                  <a:gd name="connsiteY1" fmla="*/ 28575 h 351853"/>
                  <a:gd name="connsiteX2" fmla="*/ 28575 w 646557"/>
                  <a:gd name="connsiteY2" fmla="*/ 0 h 351853"/>
                  <a:gd name="connsiteX3" fmla="*/ 57150 w 646557"/>
                  <a:gd name="connsiteY3" fmla="*/ 28575 h 351853"/>
                  <a:gd name="connsiteX4" fmla="*/ 323279 w 646557"/>
                  <a:gd name="connsiteY4" fmla="*/ 294704 h 351853"/>
                  <a:gd name="connsiteX5" fmla="*/ 589407 w 646557"/>
                  <a:gd name="connsiteY5" fmla="*/ 28575 h 351853"/>
                  <a:gd name="connsiteX6" fmla="*/ 617982 w 646557"/>
                  <a:gd name="connsiteY6" fmla="*/ 0 h 351853"/>
                  <a:gd name="connsiteX7" fmla="*/ 646557 w 646557"/>
                  <a:gd name="connsiteY7" fmla="*/ 28575 h 351853"/>
                  <a:gd name="connsiteX8" fmla="*/ 323279 w 646557"/>
                  <a:gd name="connsiteY8" fmla="*/ 351854 h 3518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646557" h="351853">
                    <a:moveTo>
                      <a:pt x="323279" y="351854"/>
                    </a:moveTo>
                    <a:cubicBezTo>
                      <a:pt x="145066" y="351854"/>
                      <a:pt x="0" y="206883"/>
                      <a:pt x="0" y="28575"/>
                    </a:cubicBezTo>
                    <a:cubicBezTo>
                      <a:pt x="0" y="12764"/>
                      <a:pt x="12763" y="0"/>
                      <a:pt x="28575" y="0"/>
                    </a:cubicBezTo>
                    <a:cubicBezTo>
                      <a:pt x="44386" y="0"/>
                      <a:pt x="57150" y="12764"/>
                      <a:pt x="57150" y="28575"/>
                    </a:cubicBezTo>
                    <a:cubicBezTo>
                      <a:pt x="57150" y="175260"/>
                      <a:pt x="176498" y="294704"/>
                      <a:pt x="323279" y="294704"/>
                    </a:cubicBezTo>
                    <a:cubicBezTo>
                      <a:pt x="469963" y="294704"/>
                      <a:pt x="589407" y="175355"/>
                      <a:pt x="589407" y="28575"/>
                    </a:cubicBezTo>
                    <a:cubicBezTo>
                      <a:pt x="589407" y="12764"/>
                      <a:pt x="602170" y="0"/>
                      <a:pt x="617982" y="0"/>
                    </a:cubicBezTo>
                    <a:cubicBezTo>
                      <a:pt x="633793" y="0"/>
                      <a:pt x="646557" y="12764"/>
                      <a:pt x="646557" y="28575"/>
                    </a:cubicBezTo>
                    <a:cubicBezTo>
                      <a:pt x="646462" y="206883"/>
                      <a:pt x="501491" y="351854"/>
                      <a:pt x="323279" y="351854"/>
                    </a:cubicBezTo>
                    <a:close/>
                  </a:path>
                </a:pathLst>
              </a:custGeom>
              <a:solidFill>
                <a:srgbClr val="883827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 sz="1800"/>
              </a:p>
            </p:txBody>
          </p:sp>
          <p:sp>
            <p:nvSpPr>
              <p:cNvPr id="82" name="ïṧ1iḍê">
                <a:extLst>
                  <a:ext uri="{FF2B5EF4-FFF2-40B4-BE49-F238E27FC236}">
                    <a16:creationId xmlns:a16="http://schemas.microsoft.com/office/drawing/2014/main" id="{E0E8DF42-D8DB-4443-A37C-02A21D2C3A3D}"/>
                  </a:ext>
                </a:extLst>
              </p:cNvPr>
              <p:cNvSpPr/>
              <p:nvPr/>
            </p:nvSpPr>
            <p:spPr>
              <a:xfrm>
                <a:off x="8912351" y="1508283"/>
                <a:ext cx="196786" cy="196786"/>
              </a:xfrm>
              <a:custGeom>
                <a:avLst/>
                <a:gdLst>
                  <a:gd name="connsiteX0" fmla="*/ 196787 w 196786"/>
                  <a:gd name="connsiteY0" fmla="*/ 98393 h 196786"/>
                  <a:gd name="connsiteX1" fmla="*/ 98393 w 196786"/>
                  <a:gd name="connsiteY1" fmla="*/ 196787 h 196786"/>
                  <a:gd name="connsiteX2" fmla="*/ 0 w 196786"/>
                  <a:gd name="connsiteY2" fmla="*/ 98393 h 196786"/>
                  <a:gd name="connsiteX3" fmla="*/ 98393 w 196786"/>
                  <a:gd name="connsiteY3" fmla="*/ 0 h 196786"/>
                  <a:gd name="connsiteX4" fmla="*/ 196787 w 196786"/>
                  <a:gd name="connsiteY4" fmla="*/ 98393 h 1967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96786" h="196786">
                    <a:moveTo>
                      <a:pt x="196787" y="98393"/>
                    </a:moveTo>
                    <a:cubicBezTo>
                      <a:pt x="196787" y="152781"/>
                      <a:pt x="152686" y="196787"/>
                      <a:pt x="98393" y="196787"/>
                    </a:cubicBezTo>
                    <a:cubicBezTo>
                      <a:pt x="44005" y="196787"/>
                      <a:pt x="0" y="152686"/>
                      <a:pt x="0" y="98393"/>
                    </a:cubicBezTo>
                    <a:cubicBezTo>
                      <a:pt x="0" y="44006"/>
                      <a:pt x="44101" y="0"/>
                      <a:pt x="98393" y="0"/>
                    </a:cubicBezTo>
                    <a:cubicBezTo>
                      <a:pt x="152686" y="0"/>
                      <a:pt x="196787" y="44101"/>
                      <a:pt x="196787" y="98393"/>
                    </a:cubicBezTo>
                    <a:close/>
                  </a:path>
                </a:pathLst>
              </a:custGeom>
              <a:solidFill>
                <a:srgbClr val="7A2A2A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 sz="1800"/>
              </a:p>
            </p:txBody>
          </p:sp>
          <p:sp>
            <p:nvSpPr>
              <p:cNvPr id="83" name="išlîḋe">
                <a:extLst>
                  <a:ext uri="{FF2B5EF4-FFF2-40B4-BE49-F238E27FC236}">
                    <a16:creationId xmlns:a16="http://schemas.microsoft.com/office/drawing/2014/main" id="{1E3845BE-072F-456B-BE19-92F03F6DD1DC}"/>
                  </a:ext>
                </a:extLst>
              </p:cNvPr>
              <p:cNvSpPr/>
              <p:nvPr/>
            </p:nvSpPr>
            <p:spPr>
              <a:xfrm>
                <a:off x="8086819" y="1498758"/>
                <a:ext cx="196786" cy="196786"/>
              </a:xfrm>
              <a:custGeom>
                <a:avLst/>
                <a:gdLst>
                  <a:gd name="connsiteX0" fmla="*/ 196786 w 196786"/>
                  <a:gd name="connsiteY0" fmla="*/ 98393 h 196786"/>
                  <a:gd name="connsiteX1" fmla="*/ 98393 w 196786"/>
                  <a:gd name="connsiteY1" fmla="*/ 196787 h 196786"/>
                  <a:gd name="connsiteX2" fmla="*/ 0 w 196786"/>
                  <a:gd name="connsiteY2" fmla="*/ 98393 h 196786"/>
                  <a:gd name="connsiteX3" fmla="*/ 98393 w 196786"/>
                  <a:gd name="connsiteY3" fmla="*/ 0 h 196786"/>
                  <a:gd name="connsiteX4" fmla="*/ 196786 w 196786"/>
                  <a:gd name="connsiteY4" fmla="*/ 98393 h 1967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96786" h="196786">
                    <a:moveTo>
                      <a:pt x="196786" y="98393"/>
                    </a:moveTo>
                    <a:cubicBezTo>
                      <a:pt x="196786" y="152781"/>
                      <a:pt x="152685" y="196787"/>
                      <a:pt x="98393" y="196787"/>
                    </a:cubicBezTo>
                    <a:cubicBezTo>
                      <a:pt x="44005" y="196787"/>
                      <a:pt x="0" y="152686"/>
                      <a:pt x="0" y="98393"/>
                    </a:cubicBezTo>
                    <a:cubicBezTo>
                      <a:pt x="0" y="44006"/>
                      <a:pt x="44101" y="0"/>
                      <a:pt x="98393" y="0"/>
                    </a:cubicBezTo>
                    <a:cubicBezTo>
                      <a:pt x="152781" y="0"/>
                      <a:pt x="196786" y="44101"/>
                      <a:pt x="196786" y="98393"/>
                    </a:cubicBezTo>
                    <a:close/>
                  </a:path>
                </a:pathLst>
              </a:custGeom>
              <a:solidFill>
                <a:srgbClr val="7A2A2A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 sz="1800"/>
              </a:p>
            </p:txBody>
          </p:sp>
          <p:sp>
            <p:nvSpPr>
              <p:cNvPr id="84" name="íṣļíḓê">
                <a:extLst>
                  <a:ext uri="{FF2B5EF4-FFF2-40B4-BE49-F238E27FC236}">
                    <a16:creationId xmlns:a16="http://schemas.microsoft.com/office/drawing/2014/main" id="{D4B5574B-D2DB-4896-A577-F802F5779A24}"/>
                  </a:ext>
                </a:extLst>
              </p:cNvPr>
              <p:cNvSpPr/>
              <p:nvPr/>
            </p:nvSpPr>
            <p:spPr>
              <a:xfrm>
                <a:off x="7651241" y="2136838"/>
                <a:ext cx="1357312" cy="995362"/>
              </a:xfrm>
              <a:custGeom>
                <a:avLst/>
                <a:gdLst>
                  <a:gd name="connsiteX0" fmla="*/ 0 w 1357312"/>
                  <a:gd name="connsiteY0" fmla="*/ 20574 h 995362"/>
                  <a:gd name="connsiteX1" fmla="*/ 974788 w 1357312"/>
                  <a:gd name="connsiteY1" fmla="*/ 995363 h 995362"/>
                  <a:gd name="connsiteX2" fmla="*/ 1357313 w 1357312"/>
                  <a:gd name="connsiteY2" fmla="*/ 917448 h 995362"/>
                  <a:gd name="connsiteX3" fmla="*/ 285 w 1357312"/>
                  <a:gd name="connsiteY3" fmla="*/ 0 h 995362"/>
                  <a:gd name="connsiteX4" fmla="*/ 0 w 1357312"/>
                  <a:gd name="connsiteY4" fmla="*/ 20574 h 9953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357312" h="995362">
                    <a:moveTo>
                      <a:pt x="0" y="20574"/>
                    </a:moveTo>
                    <a:cubicBezTo>
                      <a:pt x="0" y="558927"/>
                      <a:pt x="436435" y="995363"/>
                      <a:pt x="974788" y="995363"/>
                    </a:cubicBezTo>
                    <a:cubicBezTo>
                      <a:pt x="1110519" y="995363"/>
                      <a:pt x="1239869" y="967550"/>
                      <a:pt x="1357313" y="917448"/>
                    </a:cubicBezTo>
                    <a:lnTo>
                      <a:pt x="285" y="0"/>
                    </a:lnTo>
                    <a:cubicBezTo>
                      <a:pt x="95" y="6858"/>
                      <a:pt x="0" y="13621"/>
                      <a:pt x="0" y="20574"/>
                    </a:cubicBezTo>
                    <a:close/>
                  </a:path>
                </a:pathLst>
              </a:custGeom>
              <a:solidFill>
                <a:srgbClr val="637B36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 sz="1800"/>
              </a:p>
            </p:txBody>
          </p:sp>
          <p:sp>
            <p:nvSpPr>
              <p:cNvPr id="85" name="iṣlíḑè">
                <a:extLst>
                  <a:ext uri="{FF2B5EF4-FFF2-40B4-BE49-F238E27FC236}">
                    <a16:creationId xmlns:a16="http://schemas.microsoft.com/office/drawing/2014/main" id="{31F3FBEA-ACA5-4F8B-AA14-C30E9508B727}"/>
                  </a:ext>
                </a:extLst>
              </p:cNvPr>
              <p:cNvSpPr/>
              <p:nvPr/>
            </p:nvSpPr>
            <p:spPr>
              <a:xfrm>
                <a:off x="7933848" y="2298763"/>
                <a:ext cx="1656587" cy="832675"/>
              </a:xfrm>
              <a:custGeom>
                <a:avLst/>
                <a:gdLst>
                  <a:gd name="connsiteX0" fmla="*/ 692182 w 1656587"/>
                  <a:gd name="connsiteY0" fmla="*/ 832676 h 832675"/>
                  <a:gd name="connsiteX1" fmla="*/ 1656588 w 1656587"/>
                  <a:gd name="connsiteY1" fmla="*/ 0 h 832675"/>
                  <a:gd name="connsiteX2" fmla="*/ 1656588 w 1656587"/>
                  <a:gd name="connsiteY2" fmla="*/ 0 h 832675"/>
                  <a:gd name="connsiteX3" fmla="*/ 0 w 1656587"/>
                  <a:gd name="connsiteY3" fmla="*/ 544259 h 832675"/>
                  <a:gd name="connsiteX4" fmla="*/ 692182 w 1656587"/>
                  <a:gd name="connsiteY4" fmla="*/ 832676 h 8326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56587" h="832675">
                    <a:moveTo>
                      <a:pt x="692182" y="832676"/>
                    </a:moveTo>
                    <a:cubicBezTo>
                      <a:pt x="1182243" y="832676"/>
                      <a:pt x="1587818" y="471011"/>
                      <a:pt x="1656588" y="0"/>
                    </a:cubicBezTo>
                    <a:cubicBezTo>
                      <a:pt x="1656588" y="0"/>
                      <a:pt x="1656588" y="0"/>
                      <a:pt x="1656588" y="0"/>
                    </a:cubicBezTo>
                    <a:lnTo>
                      <a:pt x="0" y="544259"/>
                    </a:lnTo>
                    <a:cubicBezTo>
                      <a:pt x="176689" y="722376"/>
                      <a:pt x="421481" y="832676"/>
                      <a:pt x="692182" y="832676"/>
                    </a:cubicBezTo>
                    <a:close/>
                  </a:path>
                </a:pathLst>
              </a:custGeom>
              <a:solidFill>
                <a:srgbClr val="88A54A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 sz="1800"/>
              </a:p>
            </p:txBody>
          </p:sp>
          <p:sp>
            <p:nvSpPr>
              <p:cNvPr id="86" name="îšḷiḍé">
                <a:extLst>
                  <a:ext uri="{FF2B5EF4-FFF2-40B4-BE49-F238E27FC236}">
                    <a16:creationId xmlns:a16="http://schemas.microsoft.com/office/drawing/2014/main" id="{13552B3C-AC62-4653-9837-A218587DC04A}"/>
                  </a:ext>
                </a:extLst>
              </p:cNvPr>
              <p:cNvSpPr/>
              <p:nvPr/>
            </p:nvSpPr>
            <p:spPr>
              <a:xfrm>
                <a:off x="8999981" y="1702308"/>
                <a:ext cx="218312" cy="218312"/>
              </a:xfrm>
              <a:custGeom>
                <a:avLst/>
                <a:gdLst>
                  <a:gd name="connsiteX0" fmla="*/ 218313 w 218312"/>
                  <a:gd name="connsiteY0" fmla="*/ 109156 h 218312"/>
                  <a:gd name="connsiteX1" fmla="*/ 109157 w 218312"/>
                  <a:gd name="connsiteY1" fmla="*/ 218313 h 218312"/>
                  <a:gd name="connsiteX2" fmla="*/ 0 w 218312"/>
                  <a:gd name="connsiteY2" fmla="*/ 109156 h 218312"/>
                  <a:gd name="connsiteX3" fmla="*/ 109157 w 218312"/>
                  <a:gd name="connsiteY3" fmla="*/ 0 h 218312"/>
                  <a:gd name="connsiteX4" fmla="*/ 218313 w 218312"/>
                  <a:gd name="connsiteY4" fmla="*/ 109156 h 2183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18312" h="218312">
                    <a:moveTo>
                      <a:pt x="218313" y="109156"/>
                    </a:moveTo>
                    <a:cubicBezTo>
                      <a:pt x="218313" y="169450"/>
                      <a:pt x="169450" y="218313"/>
                      <a:pt x="109157" y="218313"/>
                    </a:cubicBezTo>
                    <a:cubicBezTo>
                      <a:pt x="48863" y="218313"/>
                      <a:pt x="0" y="169450"/>
                      <a:pt x="0" y="109156"/>
                    </a:cubicBezTo>
                    <a:cubicBezTo>
                      <a:pt x="0" y="48863"/>
                      <a:pt x="48863" y="0"/>
                      <a:pt x="109157" y="0"/>
                    </a:cubicBezTo>
                    <a:cubicBezTo>
                      <a:pt x="169450" y="0"/>
                      <a:pt x="218313" y="48863"/>
                      <a:pt x="218313" y="109156"/>
                    </a:cubicBezTo>
                    <a:close/>
                  </a:path>
                </a:pathLst>
              </a:custGeom>
              <a:solidFill>
                <a:srgbClr val="F5898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 sz="1800"/>
              </a:p>
            </p:txBody>
          </p:sp>
          <p:sp>
            <p:nvSpPr>
              <p:cNvPr id="87" name="iṩļïḋe">
                <a:extLst>
                  <a:ext uri="{FF2B5EF4-FFF2-40B4-BE49-F238E27FC236}">
                    <a16:creationId xmlns:a16="http://schemas.microsoft.com/office/drawing/2014/main" id="{E367C678-7B3F-4076-B3E8-F941242615B8}"/>
                  </a:ext>
                </a:extLst>
              </p:cNvPr>
              <p:cNvSpPr/>
              <p:nvPr/>
            </p:nvSpPr>
            <p:spPr>
              <a:xfrm>
                <a:off x="8014048" y="1702308"/>
                <a:ext cx="218312" cy="218312"/>
              </a:xfrm>
              <a:custGeom>
                <a:avLst/>
                <a:gdLst>
                  <a:gd name="connsiteX0" fmla="*/ 218313 w 218312"/>
                  <a:gd name="connsiteY0" fmla="*/ 109156 h 218312"/>
                  <a:gd name="connsiteX1" fmla="*/ 109157 w 218312"/>
                  <a:gd name="connsiteY1" fmla="*/ 218313 h 218312"/>
                  <a:gd name="connsiteX2" fmla="*/ 0 w 218312"/>
                  <a:gd name="connsiteY2" fmla="*/ 109156 h 218312"/>
                  <a:gd name="connsiteX3" fmla="*/ 109157 w 218312"/>
                  <a:gd name="connsiteY3" fmla="*/ 0 h 218312"/>
                  <a:gd name="connsiteX4" fmla="*/ 218313 w 218312"/>
                  <a:gd name="connsiteY4" fmla="*/ 109156 h 2183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18312" h="218312">
                    <a:moveTo>
                      <a:pt x="218313" y="109156"/>
                    </a:moveTo>
                    <a:cubicBezTo>
                      <a:pt x="218313" y="169450"/>
                      <a:pt x="169450" y="218313"/>
                      <a:pt x="109157" y="218313"/>
                    </a:cubicBezTo>
                    <a:cubicBezTo>
                      <a:pt x="48863" y="218313"/>
                      <a:pt x="0" y="169450"/>
                      <a:pt x="0" y="109156"/>
                    </a:cubicBezTo>
                    <a:cubicBezTo>
                      <a:pt x="0" y="48863"/>
                      <a:pt x="48863" y="0"/>
                      <a:pt x="109157" y="0"/>
                    </a:cubicBezTo>
                    <a:cubicBezTo>
                      <a:pt x="169450" y="0"/>
                      <a:pt x="218313" y="48863"/>
                      <a:pt x="218313" y="109156"/>
                    </a:cubicBezTo>
                    <a:close/>
                  </a:path>
                </a:pathLst>
              </a:custGeom>
              <a:solidFill>
                <a:srgbClr val="F5898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 sz="1800"/>
              </a:p>
            </p:txBody>
          </p:sp>
          <p:grpSp>
            <p:nvGrpSpPr>
              <p:cNvPr id="88" name="图形 5">
                <a:extLst>
                  <a:ext uri="{FF2B5EF4-FFF2-40B4-BE49-F238E27FC236}">
                    <a16:creationId xmlns:a16="http://schemas.microsoft.com/office/drawing/2014/main" id="{C78F996B-7CA4-4C22-B9ED-6D5DDB21E971}"/>
                  </a:ext>
                </a:extLst>
              </p:cNvPr>
              <p:cNvGrpSpPr/>
              <p:nvPr/>
            </p:nvGrpSpPr>
            <p:grpSpPr>
              <a:xfrm>
                <a:off x="8105944" y="2465728"/>
                <a:ext cx="1282856" cy="579413"/>
                <a:chOff x="8105944" y="2465728"/>
                <a:chExt cx="1282856" cy="579413"/>
              </a:xfrm>
              <a:solidFill>
                <a:srgbClr val="F2EED7">
                  <a:alpha val="50000"/>
                </a:srgbClr>
              </a:solidFill>
            </p:grpSpPr>
            <p:sp>
              <p:nvSpPr>
                <p:cNvPr id="89" name="îṥlïdê">
                  <a:extLst>
                    <a:ext uri="{FF2B5EF4-FFF2-40B4-BE49-F238E27FC236}">
                      <a16:creationId xmlns:a16="http://schemas.microsoft.com/office/drawing/2014/main" id="{9ADAABA1-4C48-497D-864F-6AC4D03518EB}"/>
                    </a:ext>
                  </a:extLst>
                </p:cNvPr>
                <p:cNvSpPr/>
                <p:nvPr/>
              </p:nvSpPr>
              <p:spPr>
                <a:xfrm>
                  <a:off x="8105944" y="2591826"/>
                  <a:ext cx="1207430" cy="453315"/>
                </a:xfrm>
                <a:custGeom>
                  <a:avLst/>
                  <a:gdLst>
                    <a:gd name="connsiteX0" fmla="*/ 484272 w 1207430"/>
                    <a:gd name="connsiteY0" fmla="*/ 453316 h 453315"/>
                    <a:gd name="connsiteX1" fmla="*/ 19452 w 1207430"/>
                    <a:gd name="connsiteY1" fmla="*/ 315013 h 453315"/>
                    <a:gd name="connsiteX2" fmla="*/ 6974 w 1207430"/>
                    <a:gd name="connsiteY2" fmla="*/ 255672 h 453315"/>
                    <a:gd name="connsiteX3" fmla="*/ 66315 w 1207430"/>
                    <a:gd name="connsiteY3" fmla="*/ 243194 h 453315"/>
                    <a:gd name="connsiteX4" fmla="*/ 1128638 w 1207430"/>
                    <a:gd name="connsiteY4" fmla="*/ 19452 h 453315"/>
                    <a:gd name="connsiteX5" fmla="*/ 1187979 w 1207430"/>
                    <a:gd name="connsiteY5" fmla="*/ 6974 h 453315"/>
                    <a:gd name="connsiteX6" fmla="*/ 1200457 w 1207430"/>
                    <a:gd name="connsiteY6" fmla="*/ 66315 h 453315"/>
                    <a:gd name="connsiteX7" fmla="*/ 484272 w 1207430"/>
                    <a:gd name="connsiteY7" fmla="*/ 453316 h 45331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1207430" h="453315">
                      <a:moveTo>
                        <a:pt x="484272" y="453316"/>
                      </a:moveTo>
                      <a:cubicBezTo>
                        <a:pt x="324538" y="453316"/>
                        <a:pt x="162994" y="408643"/>
                        <a:pt x="19452" y="315013"/>
                      </a:cubicBezTo>
                      <a:cubicBezTo>
                        <a:pt x="-360" y="302059"/>
                        <a:pt x="-5980" y="275484"/>
                        <a:pt x="6974" y="255672"/>
                      </a:cubicBezTo>
                      <a:cubicBezTo>
                        <a:pt x="19928" y="235860"/>
                        <a:pt x="46503" y="230240"/>
                        <a:pt x="66315" y="243194"/>
                      </a:cubicBezTo>
                      <a:cubicBezTo>
                        <a:pt x="420931" y="474366"/>
                        <a:pt x="897466" y="373972"/>
                        <a:pt x="1128638" y="19452"/>
                      </a:cubicBezTo>
                      <a:cubicBezTo>
                        <a:pt x="1141592" y="-360"/>
                        <a:pt x="1168167" y="-5980"/>
                        <a:pt x="1187979" y="6974"/>
                      </a:cubicBezTo>
                      <a:cubicBezTo>
                        <a:pt x="1207791" y="19928"/>
                        <a:pt x="1213411" y="46503"/>
                        <a:pt x="1200457" y="66315"/>
                      </a:cubicBezTo>
                      <a:cubicBezTo>
                        <a:pt x="1037008" y="316918"/>
                        <a:pt x="763259" y="453316"/>
                        <a:pt x="484272" y="453316"/>
                      </a:cubicBezTo>
                      <a:close/>
                    </a:path>
                  </a:pathLst>
                </a:custGeom>
                <a:solidFill>
                  <a:srgbClr val="F2EED7">
                    <a:alpha val="50000"/>
                  </a:srgbClr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 sz="1800"/>
                </a:p>
              </p:txBody>
            </p:sp>
            <p:sp>
              <p:nvSpPr>
                <p:cNvPr id="90" name="îśḷïḋê">
                  <a:extLst>
                    <a:ext uri="{FF2B5EF4-FFF2-40B4-BE49-F238E27FC236}">
                      <a16:creationId xmlns:a16="http://schemas.microsoft.com/office/drawing/2014/main" id="{86435B12-3537-4972-9151-A5F07B88BE66}"/>
                    </a:ext>
                  </a:extLst>
                </p:cNvPr>
                <p:cNvSpPr/>
                <p:nvPr/>
              </p:nvSpPr>
              <p:spPr>
                <a:xfrm>
                  <a:off x="9288961" y="2465728"/>
                  <a:ext cx="99838" cy="99838"/>
                </a:xfrm>
                <a:custGeom>
                  <a:avLst/>
                  <a:gdLst>
                    <a:gd name="connsiteX0" fmla="*/ 38870 w 99838"/>
                    <a:gd name="connsiteY0" fmla="*/ 98592 h 99838"/>
                    <a:gd name="connsiteX1" fmla="*/ 1246 w 99838"/>
                    <a:gd name="connsiteY1" fmla="*/ 38870 h 99838"/>
                    <a:gd name="connsiteX2" fmla="*/ 60968 w 99838"/>
                    <a:gd name="connsiteY2" fmla="*/ 1246 h 99838"/>
                    <a:gd name="connsiteX3" fmla="*/ 98592 w 99838"/>
                    <a:gd name="connsiteY3" fmla="*/ 60968 h 99838"/>
                    <a:gd name="connsiteX4" fmla="*/ 38870 w 99838"/>
                    <a:gd name="connsiteY4" fmla="*/ 98592 h 9983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99838" h="99838">
                      <a:moveTo>
                        <a:pt x="38870" y="98592"/>
                      </a:moveTo>
                      <a:cubicBezTo>
                        <a:pt x="12009" y="92496"/>
                        <a:pt x="-4849" y="65731"/>
                        <a:pt x="1246" y="38870"/>
                      </a:cubicBezTo>
                      <a:cubicBezTo>
                        <a:pt x="7342" y="12010"/>
                        <a:pt x="34108" y="-4850"/>
                        <a:pt x="60968" y="1246"/>
                      </a:cubicBezTo>
                      <a:cubicBezTo>
                        <a:pt x="87829" y="7342"/>
                        <a:pt x="104688" y="34108"/>
                        <a:pt x="98592" y="60968"/>
                      </a:cubicBezTo>
                      <a:cubicBezTo>
                        <a:pt x="92496" y="87829"/>
                        <a:pt x="65731" y="104688"/>
                        <a:pt x="38870" y="98592"/>
                      </a:cubicBezTo>
                      <a:close/>
                    </a:path>
                  </a:pathLst>
                </a:custGeom>
                <a:solidFill>
                  <a:srgbClr val="F2EED7">
                    <a:alpha val="50000"/>
                  </a:srgbClr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 sz="1800"/>
                </a:p>
              </p:txBody>
            </p:sp>
          </p:grpSp>
        </p:grpSp>
        <p:sp>
          <p:nvSpPr>
            <p:cNvPr id="78" name="íṥ1ïḓé">
              <a:extLst>
                <a:ext uri="{FF2B5EF4-FFF2-40B4-BE49-F238E27FC236}">
                  <a16:creationId xmlns:a16="http://schemas.microsoft.com/office/drawing/2014/main" id="{4C50434A-E29B-4AAE-AA5D-03A577D38A06}"/>
                </a:ext>
              </a:extLst>
            </p:cNvPr>
            <p:cNvSpPr/>
            <p:nvPr/>
          </p:nvSpPr>
          <p:spPr>
            <a:xfrm>
              <a:off x="7651241" y="1308163"/>
              <a:ext cx="1607153" cy="1825942"/>
            </a:xfrm>
            <a:custGeom>
              <a:avLst/>
              <a:gdLst>
                <a:gd name="connsiteX0" fmla="*/ 157163 w 1607153"/>
                <a:gd name="connsiteY0" fmla="*/ 741712 h 1825942"/>
                <a:gd name="connsiteX1" fmla="*/ 499586 w 1607153"/>
                <a:gd name="connsiteY1" fmla="*/ 0 h 1825942"/>
                <a:gd name="connsiteX2" fmla="*/ 0 w 1607153"/>
                <a:gd name="connsiteY2" fmla="*/ 851154 h 1825942"/>
                <a:gd name="connsiteX3" fmla="*/ 974788 w 1607153"/>
                <a:gd name="connsiteY3" fmla="*/ 1825942 h 1825942"/>
                <a:gd name="connsiteX4" fmla="*/ 1607153 w 1607153"/>
                <a:gd name="connsiteY4" fmla="*/ 1592961 h 1825942"/>
                <a:gd name="connsiteX5" fmla="*/ 1131951 w 1607153"/>
                <a:gd name="connsiteY5" fmla="*/ 1716500 h 1825942"/>
                <a:gd name="connsiteX6" fmla="*/ 157163 w 1607153"/>
                <a:gd name="connsiteY6" fmla="*/ 741712 h 18259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607153" h="1825942">
                  <a:moveTo>
                    <a:pt x="157163" y="741712"/>
                  </a:moveTo>
                  <a:cubicBezTo>
                    <a:pt x="157163" y="444722"/>
                    <a:pt x="290036" y="178784"/>
                    <a:pt x="499586" y="0"/>
                  </a:cubicBezTo>
                  <a:cubicBezTo>
                    <a:pt x="201549" y="166783"/>
                    <a:pt x="0" y="485394"/>
                    <a:pt x="0" y="851154"/>
                  </a:cubicBezTo>
                  <a:cubicBezTo>
                    <a:pt x="0" y="1389507"/>
                    <a:pt x="436435" y="1825942"/>
                    <a:pt x="974788" y="1825942"/>
                  </a:cubicBezTo>
                  <a:cubicBezTo>
                    <a:pt x="1216152" y="1825942"/>
                    <a:pt x="1436941" y="1738217"/>
                    <a:pt x="1607153" y="1592961"/>
                  </a:cubicBezTo>
                  <a:cubicBezTo>
                    <a:pt x="1466564" y="1671638"/>
                    <a:pt x="1304448" y="1716500"/>
                    <a:pt x="1131951" y="1716500"/>
                  </a:cubicBezTo>
                  <a:cubicBezTo>
                    <a:pt x="593598" y="1716405"/>
                    <a:pt x="157163" y="1280065"/>
                    <a:pt x="157163" y="741712"/>
                  </a:cubicBezTo>
                  <a:close/>
                </a:path>
              </a:pathLst>
            </a:custGeom>
            <a:solidFill>
              <a:srgbClr val="773020">
                <a:alpha val="20000"/>
              </a:srgb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 sz="1800"/>
            </a:p>
          </p:txBody>
        </p:sp>
      </p:grpSp>
      <p:sp>
        <p:nvSpPr>
          <p:cNvPr id="7" name="iṡlïḑé">
            <a:extLst>
              <a:ext uri="{FF2B5EF4-FFF2-40B4-BE49-F238E27FC236}">
                <a16:creationId xmlns:a16="http://schemas.microsoft.com/office/drawing/2014/main" id="{78A5409B-AD3C-418E-B50D-C65EB0121C53}"/>
              </a:ext>
            </a:extLst>
          </p:cNvPr>
          <p:cNvSpPr/>
          <p:nvPr userDrawn="1"/>
        </p:nvSpPr>
        <p:spPr>
          <a:xfrm>
            <a:off x="1349831" y="1625600"/>
            <a:ext cx="7663543" cy="3425370"/>
          </a:xfrm>
          <a:prstGeom prst="rect">
            <a:avLst/>
          </a:prstGeom>
          <a:solidFill>
            <a:srgbClr val="FFFFFF">
              <a:alpha val="77000"/>
            </a:srgbClr>
          </a:solidFill>
          <a:ln w="12700" cap="flat" cmpd="sng" algn="ctr">
            <a:solidFill>
              <a:schemeClr val="accent1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354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微软雅黑"/>
              <a:cs typeface="+mn-cs"/>
            </a:endParaRPr>
          </a:p>
        </p:txBody>
      </p:sp>
      <p:sp>
        <p:nvSpPr>
          <p:cNvPr id="13" name="标题 12"/>
          <p:cNvSpPr>
            <a:spLocks noGrp="1"/>
          </p:cNvSpPr>
          <p:nvPr userDrawn="1">
            <p:ph type="ctrTitle" hasCustomPrompt="1"/>
          </p:nvPr>
        </p:nvSpPr>
        <p:spPr>
          <a:xfrm>
            <a:off x="2269672" y="1997986"/>
            <a:ext cx="5176157" cy="1621509"/>
          </a:xfrm>
        </p:spPr>
        <p:txBody>
          <a:bodyPr anchor="b"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 altLang="zh-CN" dirty="0"/>
              <a:t>Conclusion</a:t>
            </a:r>
            <a:endParaRPr lang="zh-CN" altLang="en-US" dirty="0"/>
          </a:p>
        </p:txBody>
      </p:sp>
      <p:sp>
        <p:nvSpPr>
          <p:cNvPr id="15" name="文本占位符 14"/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2269672" y="4304222"/>
            <a:ext cx="5176157" cy="310871"/>
          </a:xfrm>
        </p:spPr>
        <p:txBody>
          <a:bodyPr vert="horz" lIns="91440" tIns="45720" rIns="91440" bIns="45720" rtlCol="0">
            <a:normAutofit/>
          </a:bodyPr>
          <a:lstStyle>
            <a:lvl1pPr marL="0" indent="0" algn="l">
              <a:buNone/>
              <a:defRPr lang="zh-CN" altLang="en-US" sz="1400" smtClean="0">
                <a:solidFill>
                  <a:schemeClr val="tx1"/>
                </a:solidFill>
              </a:defRPr>
            </a:lvl1pPr>
            <a:lvl2pPr>
              <a:defRPr lang="zh-CN" altLang="en-US" sz="2000" smtClean="0"/>
            </a:lvl2pPr>
            <a:lvl3pPr>
              <a:defRPr lang="zh-CN" altLang="en-US" sz="1800" smtClean="0"/>
            </a:lvl3pPr>
            <a:lvl4pPr>
              <a:defRPr lang="zh-CN" altLang="en-US" sz="1600" smtClean="0"/>
            </a:lvl4pPr>
            <a:lvl5pPr>
              <a:defRPr lang="zh-CN" altLang="en-US" sz="1600"/>
            </a:lvl5pPr>
          </a:lstStyle>
          <a:p>
            <a:pPr marL="228578" marR="0" lvl="0" indent="-228578" fontAlgn="auto">
              <a:spcAft>
                <a:spcPts val="0"/>
              </a:spcAft>
              <a:buClrTx/>
              <a:buSzTx/>
              <a:tabLst/>
            </a:pPr>
            <a:r>
              <a:rPr lang="en-US" altLang="zh-CN" dirty="0"/>
              <a:t>Data</a:t>
            </a:r>
          </a:p>
        </p:txBody>
      </p:sp>
      <p:sp>
        <p:nvSpPr>
          <p:cNvPr id="6" name="文本占位符 5">
            <a:extLst>
              <a:ext uri="{FF2B5EF4-FFF2-40B4-BE49-F238E27FC236}">
                <a16:creationId xmlns:a16="http://schemas.microsoft.com/office/drawing/2014/main" id="{05EBDA4F-7210-4CAE-8333-80DB24212E7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269676" y="4007951"/>
            <a:ext cx="5176157" cy="296271"/>
          </a:xfrm>
        </p:spPr>
        <p:txBody>
          <a:bodyPr vert="horz" anchor="ctr">
            <a:noAutofit/>
          </a:bodyPr>
          <a:lstStyle>
            <a:lvl1pPr marL="0" indent="0" algn="l">
              <a:buNone/>
              <a:defRPr sz="1400" b="0">
                <a:solidFill>
                  <a:schemeClr val="tx1"/>
                </a:solidFill>
              </a:defRPr>
            </a:lvl1pPr>
            <a:lvl2pPr marL="457155" indent="0">
              <a:buNone/>
              <a:defRPr/>
            </a:lvl2pPr>
            <a:lvl3pPr marL="914308" indent="0">
              <a:buNone/>
              <a:defRPr/>
            </a:lvl3pPr>
            <a:lvl4pPr marL="1371462" indent="0">
              <a:buNone/>
              <a:defRPr/>
            </a:lvl4pPr>
            <a:lvl5pPr marL="1828618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</p:spTree>
    <p:extLst>
      <p:ext uri="{BB962C8B-B14F-4D97-AF65-F5344CB8AC3E}">
        <p14:creationId xmlns:p14="http://schemas.microsoft.com/office/powerpoint/2010/main" val="237865840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669925" y="4"/>
            <a:ext cx="10850563" cy="10286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69925" y="1123953"/>
            <a:ext cx="10850563" cy="50196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zh-CN" altLang="en-US" dirty="0"/>
          </a:p>
        </p:txBody>
      </p:sp>
      <p:cxnSp>
        <p:nvCxnSpPr>
          <p:cNvPr id="7" name="直接连接符 6"/>
          <p:cNvCxnSpPr/>
          <p:nvPr userDrawn="1"/>
        </p:nvCxnSpPr>
        <p:spPr>
          <a:xfrm>
            <a:off x="669925" y="1028700"/>
            <a:ext cx="10850563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日期占位符 7">
            <a:extLst>
              <a:ext uri="{FF2B5EF4-FFF2-40B4-BE49-F238E27FC236}">
                <a16:creationId xmlns:a16="http://schemas.microsoft.com/office/drawing/2014/main" id="{04388434-9949-479C-A9C3-67A953F6A93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401732" y="6240467"/>
            <a:ext cx="1388536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9" name="页脚占位符 8">
            <a:extLst>
              <a:ext uri="{FF2B5EF4-FFF2-40B4-BE49-F238E27FC236}">
                <a16:creationId xmlns:a16="http://schemas.microsoft.com/office/drawing/2014/main" id="{50A5656E-7A33-4865-A262-1F96263BAA1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69926" y="6240467"/>
            <a:ext cx="4140201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10" name="灯片编号占位符 9">
            <a:extLst>
              <a:ext uri="{FF2B5EF4-FFF2-40B4-BE49-F238E27FC236}">
                <a16:creationId xmlns:a16="http://schemas.microsoft.com/office/drawing/2014/main" id="{5BF52F79-380E-4278-8B67-588AFE5840F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599" y="6240467"/>
            <a:ext cx="2909888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7840277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0" r:id="rId1"/>
    <p:sldLayoutId id="2147483651" r:id="rId2"/>
    <p:sldLayoutId id="2147483669" r:id="rId3"/>
    <p:sldLayoutId id="2147483662" r:id="rId4"/>
    <p:sldLayoutId id="2147483655" r:id="rId5"/>
    <p:sldLayoutId id="2147483661" r:id="rId6"/>
  </p:sldLayoutIdLst>
  <p:hf hdr="0" dt="0"/>
  <p:txStyles>
    <p:titleStyle>
      <a:lvl1pPr algn="l" defTabSz="914309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78" indent="-228578" algn="l" defTabSz="914309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34" indent="-228578" algn="l" defTabSz="91430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886" indent="-228578" algn="l" defTabSz="91430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040" indent="-228578" algn="l" defTabSz="91430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195" indent="-228578" algn="l" defTabSz="91430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349" indent="-228578" algn="l" defTabSz="91430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504" indent="-228578" algn="l" defTabSz="91430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658" indent="-228578" algn="l" defTabSz="91430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814" indent="-228578" algn="l" defTabSz="91430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55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09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64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18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74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26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80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235" algn="l" defTabSz="9143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423" userDrawn="1">
          <p15:clr>
            <a:srgbClr val="F26B43"/>
          </p15:clr>
        </p15:guide>
        <p15:guide id="2" pos="7257" userDrawn="1">
          <p15:clr>
            <a:srgbClr val="F26B43"/>
          </p15:clr>
        </p15:guide>
        <p15:guide id="3" orient="horz" pos="648" userDrawn="1">
          <p15:clr>
            <a:srgbClr val="F26B43"/>
          </p15:clr>
        </p15:guide>
        <p15:guide id="4" orient="horz" pos="712" userDrawn="1">
          <p15:clr>
            <a:srgbClr val="F26B43"/>
          </p15:clr>
        </p15:guide>
        <p15:guide id="5" orient="horz" pos="3931" userDrawn="1">
          <p15:clr>
            <a:srgbClr val="F26B43"/>
          </p15:clr>
        </p15:guide>
        <p15:guide id="6" orient="horz" pos="3866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2" Type="http://schemas.openxmlformats.org/officeDocument/2006/relationships/vmlDrawing" Target="../drawings/vmlDrawing1.vml"/><Relationship Id="rId1" Type="http://schemas.openxmlformats.org/officeDocument/2006/relationships/themeOverride" Target="../theme/themeOverride1.x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.bin"/><Relationship Id="rId4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3.xml"/><Relationship Id="rId1" Type="http://schemas.openxmlformats.org/officeDocument/2006/relationships/themeOverride" Target="../theme/themeOverride2.xml"/><Relationship Id="rId4" Type="http://schemas.openxmlformats.org/officeDocument/2006/relationships/image" Target="../media/image3.jp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4.xml"/><Relationship Id="rId4" Type="http://schemas.openxmlformats.org/officeDocument/2006/relationships/image" Target="../media/image5.jp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5.xml"/><Relationship Id="rId1" Type="http://schemas.openxmlformats.org/officeDocument/2006/relationships/tags" Target="../tags/tag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ï$ḻiḑé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íṣ1îḋê" hidden="1">
            <a:extLst>
              <a:ext uri="{FF2B5EF4-FFF2-40B4-BE49-F238E27FC236}">
                <a16:creationId xmlns:a16="http://schemas.microsoft.com/office/drawing/2014/main" id="{3C326D0B-7DAB-41B6-8030-2E4A18CC949B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584086153"/>
              </p:ext>
            </p:extLst>
          </p:nvPr>
        </p:nvGraphicFramePr>
        <p:xfrm>
          <a:off x="1590" y="1590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4"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3" name="iṩľíḍê" hidden="1">
                        <a:extLst>
                          <a:ext uri="{FF2B5EF4-FFF2-40B4-BE49-F238E27FC236}">
                            <a16:creationId xmlns:a16="http://schemas.microsoft.com/office/drawing/2014/main" id="{3C326D0B-7DAB-41B6-8030-2E4A18CC94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iṣlïḍé" hidden="1">
            <a:extLst>
              <a:ext uri="{FF2B5EF4-FFF2-40B4-BE49-F238E27FC236}">
                <a16:creationId xmlns:a16="http://schemas.microsoft.com/office/drawing/2014/main" id="{EC933494-1B63-4A32-964F-D05236799BAA}"/>
              </a:ext>
            </a:extLst>
          </p:cNvPr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4000" b="1" dirty="0">
              <a:latin typeface="Arial" panose="020B0604020202020204" pitchFamily="34" charset="0"/>
              <a:ea typeface="微软雅黑" panose="020B0503020204020204" pitchFamily="34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文本框 4"/>
          <p:cNvSpPr txBox="1"/>
          <p:nvPr/>
        </p:nvSpPr>
        <p:spPr>
          <a:xfrm>
            <a:off x="6494585" y="3083171"/>
            <a:ext cx="3270739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800" dirty="0">
                <a:solidFill>
                  <a:schemeClr val="bg1"/>
                </a:solidFill>
                <a:latin typeface="方正粗黑宋简体" panose="02000000000000000000" pitchFamily="2" charset="-122"/>
                <a:ea typeface="方正粗黑宋简体" panose="02000000000000000000" pitchFamily="2" charset="-122"/>
              </a:rPr>
              <a:t>三年级一十七班</a:t>
            </a:r>
            <a:endParaRPr lang="en-US" altLang="zh-CN" sz="2800" dirty="0">
              <a:solidFill>
                <a:schemeClr val="bg1"/>
              </a:solidFill>
              <a:latin typeface="方正粗黑宋简体" panose="02000000000000000000" pitchFamily="2" charset="-122"/>
              <a:ea typeface="方正粗黑宋简体" panose="02000000000000000000" pitchFamily="2" charset="-122"/>
            </a:endParaRPr>
          </a:p>
          <a:p>
            <a:r>
              <a:rPr lang="zh-CN" altLang="en-US" sz="2800" dirty="0">
                <a:solidFill>
                  <a:schemeClr val="bg1"/>
                </a:solidFill>
                <a:latin typeface="方正粗黑宋简体" panose="02000000000000000000" pitchFamily="2" charset="-122"/>
                <a:ea typeface="方正粗黑宋简体" panose="02000000000000000000" pitchFamily="2" charset="-122"/>
              </a:rPr>
              <a:t>洪之言</a:t>
            </a:r>
          </a:p>
        </p:txBody>
      </p:sp>
      <p:sp>
        <p:nvSpPr>
          <p:cNvPr id="98" name="文本框 97"/>
          <p:cNvSpPr txBox="1"/>
          <p:nvPr/>
        </p:nvSpPr>
        <p:spPr>
          <a:xfrm>
            <a:off x="3024554" y="1699847"/>
            <a:ext cx="5315882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6600" dirty="0" smtClean="0">
                <a:solidFill>
                  <a:schemeClr val="bg1"/>
                </a:solidFill>
                <a:latin typeface="方正粗黑宋简体" panose="02000000000000000000" pitchFamily="2" charset="-122"/>
                <a:ea typeface="方正粗黑宋简体" panose="02000000000000000000" pitchFamily="2" charset="-122"/>
              </a:rPr>
              <a:t>竞选文娱干事</a:t>
            </a:r>
            <a:endParaRPr lang="zh-CN" altLang="en-US" sz="6600" dirty="0">
              <a:solidFill>
                <a:schemeClr val="bg1"/>
              </a:solidFill>
              <a:latin typeface="方正粗黑宋简体" panose="02000000000000000000" pitchFamily="2" charset="-122"/>
              <a:ea typeface="方正粗黑宋简体" panose="02000000000000000000" pitchFamily="2" charset="-122"/>
            </a:endParaRPr>
          </a:p>
        </p:txBody>
      </p:sp>
    </p:spTree>
    <p:custDataLst>
      <p:tags r:id="rId3"/>
    </p:custDataLst>
    <p:extLst>
      <p:ext uri="{BB962C8B-B14F-4D97-AF65-F5344CB8AC3E}">
        <p14:creationId xmlns:p14="http://schemas.microsoft.com/office/powerpoint/2010/main" val="227174189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îšliḑé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îSlíḋê">
            <a:extLst>
              <a:ext uri="{FF2B5EF4-FFF2-40B4-BE49-F238E27FC236}">
                <a16:creationId xmlns:a16="http://schemas.microsoft.com/office/drawing/2014/main" id="{BAC16560-E63D-4629-BCB4-B967131586CD}"/>
              </a:ext>
            </a:extLst>
          </p:cNvPr>
          <p:cNvSpPr/>
          <p:nvPr/>
        </p:nvSpPr>
        <p:spPr>
          <a:xfrm>
            <a:off x="0" y="5604288"/>
            <a:ext cx="12192000" cy="631413"/>
          </a:xfrm>
          <a:prstGeom prst="rect">
            <a:avLst/>
          </a:prstGeom>
          <a:solidFill>
            <a:schemeClr val="accent1"/>
          </a:solidFill>
          <a:ln w="12700" cap="rnd">
            <a:noFill/>
            <a:prstDash val="solid"/>
            <a:round/>
            <a:headEnd/>
            <a:tailE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 defTabSz="914309"/>
            <a:endParaRPr lang="zh-CN" altLang="en-US" sz="2000" b="1" dirty="0">
              <a:solidFill>
                <a:schemeClr val="bg1"/>
              </a:solidFill>
            </a:endParaRPr>
          </a:p>
        </p:txBody>
      </p:sp>
      <p:grpSp>
        <p:nvGrpSpPr>
          <p:cNvPr id="14" name="ïsḷïḑè">
            <a:extLst>
              <a:ext uri="{FF2B5EF4-FFF2-40B4-BE49-F238E27FC236}">
                <a16:creationId xmlns:a16="http://schemas.microsoft.com/office/drawing/2014/main" id="{1A8B0280-2F74-4715-893A-150B29FC1ADA}"/>
              </a:ext>
            </a:extLst>
          </p:cNvPr>
          <p:cNvGrpSpPr/>
          <p:nvPr/>
        </p:nvGrpSpPr>
        <p:grpSpPr>
          <a:xfrm>
            <a:off x="0" y="1130334"/>
            <a:ext cx="2980592" cy="751284"/>
            <a:chOff x="0" y="1130332"/>
            <a:chExt cx="2980592" cy="751284"/>
          </a:xfrm>
        </p:grpSpPr>
        <p:sp>
          <p:nvSpPr>
            <p:cNvPr id="27" name="îşlide">
              <a:extLst>
                <a:ext uri="{FF2B5EF4-FFF2-40B4-BE49-F238E27FC236}">
                  <a16:creationId xmlns:a16="http://schemas.microsoft.com/office/drawing/2014/main" id="{C053F39F-0002-4AA2-9656-95A8C14E0D39}"/>
                </a:ext>
              </a:extLst>
            </p:cNvPr>
            <p:cNvSpPr txBox="1"/>
            <p:nvPr/>
          </p:nvSpPr>
          <p:spPr bwMode="auto">
            <a:xfrm>
              <a:off x="0" y="1188100"/>
              <a:ext cx="2813538" cy="63574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square" lIns="91440" tIns="45720" rIns="91440" bIns="45720" anchor="ctr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r">
                <a:spcBef>
                  <a:spcPct val="0"/>
                </a:spcBef>
              </a:pPr>
              <a:r>
                <a:rPr lang="zh-CN" altLang="en-US" sz="2800" b="1" dirty="0">
                  <a:solidFill>
                    <a:schemeClr val="accent1"/>
                  </a:solidFill>
                </a:rPr>
                <a:t>自我介绍</a:t>
              </a:r>
              <a:endParaRPr lang="en-US" altLang="zh-CN" sz="2800" b="1" dirty="0">
                <a:solidFill>
                  <a:schemeClr val="accent1"/>
                </a:solidFill>
              </a:endParaRPr>
            </a:p>
          </p:txBody>
        </p:sp>
        <p:cxnSp>
          <p:nvCxnSpPr>
            <p:cNvPr id="28" name="ïṣ1ïḓé">
              <a:extLst>
                <a:ext uri="{FF2B5EF4-FFF2-40B4-BE49-F238E27FC236}">
                  <a16:creationId xmlns:a16="http://schemas.microsoft.com/office/drawing/2014/main" id="{BD5BF33D-F17E-4E8F-843B-D50CB78827FE}"/>
                </a:ext>
              </a:extLst>
            </p:cNvPr>
            <p:cNvCxnSpPr/>
            <p:nvPr/>
          </p:nvCxnSpPr>
          <p:spPr>
            <a:xfrm>
              <a:off x="0" y="1881616"/>
              <a:ext cx="2980592" cy="0"/>
            </a:xfrm>
            <a:prstGeom prst="line">
              <a:avLst/>
            </a:prstGeom>
            <a:ln w="9525" cap="rnd">
              <a:solidFill>
                <a:schemeClr val="bg1">
                  <a:lumMod val="75000"/>
                </a:schemeClr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ïş1îdê">
              <a:extLst>
                <a:ext uri="{FF2B5EF4-FFF2-40B4-BE49-F238E27FC236}">
                  <a16:creationId xmlns:a16="http://schemas.microsoft.com/office/drawing/2014/main" id="{06A0F8B7-E4FB-4372-BB70-BFC2B8C2C3B2}"/>
                </a:ext>
              </a:extLst>
            </p:cNvPr>
            <p:cNvCxnSpPr/>
            <p:nvPr/>
          </p:nvCxnSpPr>
          <p:spPr>
            <a:xfrm>
              <a:off x="0" y="1130332"/>
              <a:ext cx="1987062" cy="0"/>
            </a:xfrm>
            <a:prstGeom prst="line">
              <a:avLst/>
            </a:prstGeom>
            <a:ln w="9525" cap="rnd">
              <a:solidFill>
                <a:schemeClr val="bg1">
                  <a:lumMod val="75000"/>
                </a:schemeClr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íṥḻîďè">
            <a:extLst>
              <a:ext uri="{FF2B5EF4-FFF2-40B4-BE49-F238E27FC236}">
                <a16:creationId xmlns:a16="http://schemas.microsoft.com/office/drawing/2014/main" id="{4D08A00C-BF4C-487F-8990-A42DB3C10E7F}"/>
              </a:ext>
            </a:extLst>
          </p:cNvPr>
          <p:cNvGrpSpPr/>
          <p:nvPr/>
        </p:nvGrpSpPr>
        <p:grpSpPr>
          <a:xfrm>
            <a:off x="1641939" y="2437924"/>
            <a:ext cx="4421150" cy="476269"/>
            <a:chOff x="1641937" y="2316337"/>
            <a:chExt cx="4421150" cy="476269"/>
          </a:xfrm>
        </p:grpSpPr>
        <p:sp>
          <p:nvSpPr>
            <p:cNvPr id="25" name="íŝľîdè">
              <a:extLst>
                <a:ext uri="{FF2B5EF4-FFF2-40B4-BE49-F238E27FC236}">
                  <a16:creationId xmlns:a16="http://schemas.microsoft.com/office/drawing/2014/main" id="{FCA9888A-8B53-4A99-9AF3-743C75CA4D0A}"/>
                </a:ext>
              </a:extLst>
            </p:cNvPr>
            <p:cNvSpPr/>
            <p:nvPr/>
          </p:nvSpPr>
          <p:spPr bwMode="auto">
            <a:xfrm>
              <a:off x="2259786" y="2316337"/>
              <a:ext cx="3803301" cy="47626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 anchorCtr="0">
              <a:no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10000"/>
                </a:lnSpc>
                <a:spcBef>
                  <a:spcPct val="0"/>
                </a:spcBef>
              </a:pPr>
              <a:r>
                <a:rPr lang="zh-CN" altLang="en-US" sz="2000" dirty="0"/>
                <a:t>洪之言</a:t>
              </a:r>
              <a:endParaRPr lang="en-US" altLang="zh-CN" sz="2000" dirty="0"/>
            </a:p>
          </p:txBody>
        </p:sp>
        <p:sp>
          <p:nvSpPr>
            <p:cNvPr id="26" name="îṡḻidè">
              <a:extLst>
                <a:ext uri="{FF2B5EF4-FFF2-40B4-BE49-F238E27FC236}">
                  <a16:creationId xmlns:a16="http://schemas.microsoft.com/office/drawing/2014/main" id="{FC109FD2-46A8-4D81-990E-11A86A9F956D}"/>
                </a:ext>
              </a:extLst>
            </p:cNvPr>
            <p:cNvSpPr/>
            <p:nvPr/>
          </p:nvSpPr>
          <p:spPr>
            <a:xfrm>
              <a:off x="1641937" y="2316337"/>
              <a:ext cx="759515" cy="47626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 anchorCtr="0">
              <a:noAutofit/>
            </a:bodyPr>
            <a:lstStyle/>
            <a:p>
              <a:pPr algn="ctr"/>
              <a:r>
                <a:rPr lang="zh-CN" altLang="en-US" sz="2000" b="1" dirty="0">
                  <a:solidFill>
                    <a:schemeClr val="accent1"/>
                  </a:solidFill>
                </a:rPr>
                <a:t>姓名</a:t>
              </a:r>
              <a:r>
                <a:rPr lang="en-US" altLang="zh-CN" sz="2000" b="1" dirty="0">
                  <a:solidFill>
                    <a:schemeClr val="accent1"/>
                  </a:solidFill>
                </a:rPr>
                <a:t>.</a:t>
              </a:r>
              <a:endParaRPr lang="zh-CN" altLang="en-US" sz="2000" b="1" dirty="0">
                <a:solidFill>
                  <a:schemeClr val="accent1"/>
                </a:solidFill>
              </a:endParaRPr>
            </a:p>
          </p:txBody>
        </p:sp>
      </p:grpSp>
      <p:grpSp>
        <p:nvGrpSpPr>
          <p:cNvPr id="16" name="îṥḷíḍê">
            <a:extLst>
              <a:ext uri="{FF2B5EF4-FFF2-40B4-BE49-F238E27FC236}">
                <a16:creationId xmlns:a16="http://schemas.microsoft.com/office/drawing/2014/main" id="{3EEB0FF7-908C-43E2-B938-767431331E5C}"/>
              </a:ext>
            </a:extLst>
          </p:cNvPr>
          <p:cNvGrpSpPr/>
          <p:nvPr/>
        </p:nvGrpSpPr>
        <p:grpSpPr>
          <a:xfrm>
            <a:off x="1641940" y="3181463"/>
            <a:ext cx="4421149" cy="476269"/>
            <a:chOff x="1641938" y="2316337"/>
            <a:chExt cx="4421149" cy="476269"/>
          </a:xfrm>
        </p:grpSpPr>
        <p:sp>
          <p:nvSpPr>
            <p:cNvPr id="23" name="îšlîḍè">
              <a:extLst>
                <a:ext uri="{FF2B5EF4-FFF2-40B4-BE49-F238E27FC236}">
                  <a16:creationId xmlns:a16="http://schemas.microsoft.com/office/drawing/2014/main" id="{DE32B28B-AAD2-4D53-A16F-050F91C79F9F}"/>
                </a:ext>
              </a:extLst>
            </p:cNvPr>
            <p:cNvSpPr/>
            <p:nvPr/>
          </p:nvSpPr>
          <p:spPr bwMode="auto">
            <a:xfrm>
              <a:off x="2259786" y="2316337"/>
              <a:ext cx="3803301" cy="47626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 anchorCtr="0">
              <a:no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10000"/>
                </a:lnSpc>
                <a:spcBef>
                  <a:spcPct val="0"/>
                </a:spcBef>
              </a:pPr>
              <a:r>
                <a:rPr lang="en-US" altLang="zh-CN" sz="2000" dirty="0"/>
                <a:t>12</a:t>
              </a:r>
              <a:r>
                <a:rPr lang="zh-CN" altLang="en-US" sz="2000" dirty="0"/>
                <a:t>月</a:t>
              </a:r>
              <a:r>
                <a:rPr lang="en-US" altLang="zh-CN" sz="2000" dirty="0"/>
                <a:t>25</a:t>
              </a:r>
              <a:r>
                <a:rPr lang="zh-CN" altLang="en-US" sz="2000" dirty="0"/>
                <a:t>日，圣诞节</a:t>
              </a:r>
              <a:endParaRPr lang="en-US" altLang="zh-CN" sz="2000" dirty="0"/>
            </a:p>
          </p:txBody>
        </p:sp>
        <p:sp>
          <p:nvSpPr>
            <p:cNvPr id="24" name="ïṡ1ïḑe">
              <a:extLst>
                <a:ext uri="{FF2B5EF4-FFF2-40B4-BE49-F238E27FC236}">
                  <a16:creationId xmlns:a16="http://schemas.microsoft.com/office/drawing/2014/main" id="{C114800F-7A69-409F-B448-237A63B60C85}"/>
                </a:ext>
              </a:extLst>
            </p:cNvPr>
            <p:cNvSpPr/>
            <p:nvPr/>
          </p:nvSpPr>
          <p:spPr>
            <a:xfrm>
              <a:off x="1641938" y="2316337"/>
              <a:ext cx="759514" cy="47626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 anchorCtr="0">
              <a:noAutofit/>
            </a:bodyPr>
            <a:lstStyle/>
            <a:p>
              <a:pPr algn="ctr"/>
              <a:r>
                <a:rPr lang="zh-CN" altLang="en-US" sz="2000" b="1" dirty="0">
                  <a:solidFill>
                    <a:schemeClr val="accent1"/>
                  </a:solidFill>
                </a:rPr>
                <a:t>生日</a:t>
              </a:r>
              <a:r>
                <a:rPr lang="en-US" altLang="zh-CN" sz="2000" b="1" dirty="0">
                  <a:solidFill>
                    <a:schemeClr val="accent1"/>
                  </a:solidFill>
                </a:rPr>
                <a:t>.</a:t>
              </a:r>
              <a:endParaRPr lang="zh-CN" altLang="en-US" sz="2000" b="1" dirty="0">
                <a:solidFill>
                  <a:schemeClr val="accent1"/>
                </a:solidFill>
              </a:endParaRPr>
            </a:p>
          </p:txBody>
        </p:sp>
      </p:grpSp>
      <p:grpSp>
        <p:nvGrpSpPr>
          <p:cNvPr id="17" name="íş1ïḓè">
            <a:extLst>
              <a:ext uri="{FF2B5EF4-FFF2-40B4-BE49-F238E27FC236}">
                <a16:creationId xmlns:a16="http://schemas.microsoft.com/office/drawing/2014/main" id="{8735C399-59D4-4599-928F-0CA609160B29}"/>
              </a:ext>
            </a:extLst>
          </p:cNvPr>
          <p:cNvGrpSpPr/>
          <p:nvPr/>
        </p:nvGrpSpPr>
        <p:grpSpPr>
          <a:xfrm>
            <a:off x="1641940" y="3925000"/>
            <a:ext cx="4421149" cy="476269"/>
            <a:chOff x="1641938" y="2316337"/>
            <a:chExt cx="4421149" cy="476269"/>
          </a:xfrm>
        </p:grpSpPr>
        <p:sp>
          <p:nvSpPr>
            <p:cNvPr id="21" name="îsļïḍè">
              <a:extLst>
                <a:ext uri="{FF2B5EF4-FFF2-40B4-BE49-F238E27FC236}">
                  <a16:creationId xmlns:a16="http://schemas.microsoft.com/office/drawing/2014/main" id="{D8219045-E692-4F67-B421-811A98605FB8}"/>
                </a:ext>
              </a:extLst>
            </p:cNvPr>
            <p:cNvSpPr/>
            <p:nvPr/>
          </p:nvSpPr>
          <p:spPr bwMode="auto">
            <a:xfrm>
              <a:off x="2259786" y="2316337"/>
              <a:ext cx="3803301" cy="47626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 anchorCtr="0">
              <a:no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10000"/>
                </a:lnSpc>
                <a:spcBef>
                  <a:spcPct val="0"/>
                </a:spcBef>
              </a:pPr>
              <a:r>
                <a:rPr lang="zh-CN" altLang="en-US" sz="2000" dirty="0"/>
                <a:t>三年级一十七班</a:t>
              </a:r>
              <a:endParaRPr lang="en-US" altLang="zh-CN" sz="2000" dirty="0"/>
            </a:p>
          </p:txBody>
        </p:sp>
        <p:sp>
          <p:nvSpPr>
            <p:cNvPr id="22" name="îşḻîďé">
              <a:extLst>
                <a:ext uri="{FF2B5EF4-FFF2-40B4-BE49-F238E27FC236}">
                  <a16:creationId xmlns:a16="http://schemas.microsoft.com/office/drawing/2014/main" id="{E3B36E85-B4D6-4519-8973-86E4E7DCB436}"/>
                </a:ext>
              </a:extLst>
            </p:cNvPr>
            <p:cNvSpPr/>
            <p:nvPr/>
          </p:nvSpPr>
          <p:spPr>
            <a:xfrm>
              <a:off x="1641938" y="2316337"/>
              <a:ext cx="759514" cy="47626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 anchorCtr="0">
              <a:noAutofit/>
            </a:bodyPr>
            <a:lstStyle/>
            <a:p>
              <a:pPr algn="ctr"/>
              <a:r>
                <a:rPr lang="zh-CN" altLang="en-US" sz="2000" b="1" dirty="0">
                  <a:solidFill>
                    <a:schemeClr val="accent1"/>
                  </a:solidFill>
                </a:rPr>
                <a:t>班级</a:t>
              </a:r>
              <a:r>
                <a:rPr lang="en-US" altLang="zh-CN" sz="2000" b="1" dirty="0">
                  <a:solidFill>
                    <a:schemeClr val="accent1"/>
                  </a:solidFill>
                </a:rPr>
                <a:t>.</a:t>
              </a:r>
              <a:endParaRPr lang="zh-CN" altLang="en-US" sz="2000" b="1" dirty="0">
                <a:solidFill>
                  <a:schemeClr val="accent1"/>
                </a:solidFill>
              </a:endParaRPr>
            </a:p>
          </p:txBody>
        </p:sp>
      </p:grpSp>
      <p:grpSp>
        <p:nvGrpSpPr>
          <p:cNvPr id="18" name="iş1ïdê">
            <a:extLst>
              <a:ext uri="{FF2B5EF4-FFF2-40B4-BE49-F238E27FC236}">
                <a16:creationId xmlns:a16="http://schemas.microsoft.com/office/drawing/2014/main" id="{D5C92C8F-FD95-4B18-AB2E-E7B86C3B1045}"/>
              </a:ext>
            </a:extLst>
          </p:cNvPr>
          <p:cNvGrpSpPr/>
          <p:nvPr/>
        </p:nvGrpSpPr>
        <p:grpSpPr>
          <a:xfrm>
            <a:off x="1641940" y="4668536"/>
            <a:ext cx="4684969" cy="476269"/>
            <a:chOff x="1641938" y="2316337"/>
            <a:chExt cx="4421149" cy="476269"/>
          </a:xfrm>
        </p:grpSpPr>
        <p:sp>
          <p:nvSpPr>
            <p:cNvPr id="19" name="iṧľiďé">
              <a:extLst>
                <a:ext uri="{FF2B5EF4-FFF2-40B4-BE49-F238E27FC236}">
                  <a16:creationId xmlns:a16="http://schemas.microsoft.com/office/drawing/2014/main" id="{18840873-D40A-439F-8C81-B1334526D7D8}"/>
                </a:ext>
              </a:extLst>
            </p:cNvPr>
            <p:cNvSpPr/>
            <p:nvPr/>
          </p:nvSpPr>
          <p:spPr bwMode="auto">
            <a:xfrm>
              <a:off x="2259786" y="2316337"/>
              <a:ext cx="3803301" cy="47626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 anchorCtr="0">
              <a:no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r>
                <a:rPr lang="zh-CN" altLang="en-US" sz="2000" dirty="0"/>
                <a:t>弹古筝、看书</a:t>
              </a:r>
              <a:r>
                <a:rPr lang="zh-CN" altLang="en-US" sz="2000" dirty="0"/>
                <a:t>、画画</a:t>
              </a:r>
              <a:r>
                <a:rPr lang="zh-CN" altLang="en-US" sz="2000" dirty="0"/>
                <a:t>、游泳、美食</a:t>
              </a:r>
            </a:p>
          </p:txBody>
        </p:sp>
        <p:sp>
          <p:nvSpPr>
            <p:cNvPr id="20" name="iṥḻïḑe">
              <a:extLst>
                <a:ext uri="{FF2B5EF4-FFF2-40B4-BE49-F238E27FC236}">
                  <a16:creationId xmlns:a16="http://schemas.microsoft.com/office/drawing/2014/main" id="{13454BA6-8CE4-4A89-9EEC-067753F3BB17}"/>
                </a:ext>
              </a:extLst>
            </p:cNvPr>
            <p:cNvSpPr/>
            <p:nvPr/>
          </p:nvSpPr>
          <p:spPr>
            <a:xfrm>
              <a:off x="1641938" y="2316337"/>
              <a:ext cx="759514" cy="47626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 anchorCtr="0">
              <a:noAutofit/>
            </a:bodyPr>
            <a:lstStyle/>
            <a:p>
              <a:pPr algn="ctr"/>
              <a:r>
                <a:rPr lang="zh-CN" altLang="en-US" sz="2000" b="1" dirty="0">
                  <a:solidFill>
                    <a:schemeClr val="accent1"/>
                  </a:solidFill>
                </a:rPr>
                <a:t>爱好</a:t>
              </a:r>
              <a:r>
                <a:rPr lang="en-US" altLang="zh-CN" sz="2000" b="1" dirty="0">
                  <a:solidFill>
                    <a:schemeClr val="accent1"/>
                  </a:solidFill>
                </a:rPr>
                <a:t>.</a:t>
              </a:r>
              <a:endParaRPr lang="zh-CN" altLang="en-US" sz="2000" b="1" dirty="0">
                <a:solidFill>
                  <a:schemeClr val="accent1"/>
                </a:solidFill>
              </a:endParaRPr>
            </a:p>
          </p:txBody>
        </p:sp>
      </p:grpSp>
      <p:pic>
        <p:nvPicPr>
          <p:cNvPr id="2" name="图片 1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82114" y="1186799"/>
            <a:ext cx="3122717" cy="4116582"/>
          </a:xfrm>
          <a:prstGeom prst="rect">
            <a:avLst/>
          </a:prstGeom>
        </p:spPr>
      </p:pic>
      <p:grpSp>
        <p:nvGrpSpPr>
          <p:cNvPr id="30" name="íŝḻíḑè">
            <a:extLst>
              <a:ext uri="{FF2B5EF4-FFF2-40B4-BE49-F238E27FC236}">
                <a16:creationId xmlns:a16="http://schemas.microsoft.com/office/drawing/2014/main" id="{245B9A8D-C013-4987-A1D5-2963F607A32E}"/>
              </a:ext>
            </a:extLst>
          </p:cNvPr>
          <p:cNvGrpSpPr/>
          <p:nvPr/>
        </p:nvGrpSpPr>
        <p:grpSpPr>
          <a:xfrm rot="20031846">
            <a:off x="10855513" y="4194231"/>
            <a:ext cx="1624538" cy="1441662"/>
            <a:chOff x="4924596" y="919509"/>
            <a:chExt cx="2527720" cy="2243171"/>
          </a:xfrm>
          <a:solidFill>
            <a:schemeClr val="accent1"/>
          </a:solidFill>
        </p:grpSpPr>
        <p:grpSp>
          <p:nvGrpSpPr>
            <p:cNvPr id="31" name="íṧľïdè">
              <a:extLst>
                <a:ext uri="{FF2B5EF4-FFF2-40B4-BE49-F238E27FC236}">
                  <a16:creationId xmlns:a16="http://schemas.microsoft.com/office/drawing/2014/main" id="{AF2F3069-FD45-4BB5-961A-89CEB1788C70}"/>
                </a:ext>
              </a:extLst>
            </p:cNvPr>
            <p:cNvGrpSpPr/>
            <p:nvPr/>
          </p:nvGrpSpPr>
          <p:grpSpPr>
            <a:xfrm>
              <a:off x="4924596" y="919509"/>
              <a:ext cx="2527720" cy="2243171"/>
              <a:chOff x="4924596" y="919509"/>
              <a:chExt cx="2527720" cy="2243171"/>
            </a:xfrm>
            <a:solidFill>
              <a:schemeClr val="accent1"/>
            </a:solidFill>
          </p:grpSpPr>
          <p:grpSp>
            <p:nvGrpSpPr>
              <p:cNvPr id="33" name="í$ľîďé">
                <a:extLst>
                  <a:ext uri="{FF2B5EF4-FFF2-40B4-BE49-F238E27FC236}">
                    <a16:creationId xmlns:a16="http://schemas.microsoft.com/office/drawing/2014/main" id="{A6775A55-DE08-4BED-96EC-F1036EAF8D28}"/>
                  </a:ext>
                </a:extLst>
              </p:cNvPr>
              <p:cNvGrpSpPr/>
              <p:nvPr/>
            </p:nvGrpSpPr>
            <p:grpSpPr>
              <a:xfrm>
                <a:off x="4924596" y="919604"/>
                <a:ext cx="765977" cy="602204"/>
                <a:chOff x="4924596" y="919604"/>
                <a:chExt cx="765977" cy="602204"/>
              </a:xfrm>
              <a:solidFill>
                <a:srgbClr val="883827"/>
              </a:solidFill>
            </p:grpSpPr>
            <p:sp>
              <p:nvSpPr>
                <p:cNvPr id="69" name="ïṩḷiḓê">
                  <a:extLst>
                    <a:ext uri="{FF2B5EF4-FFF2-40B4-BE49-F238E27FC236}">
                      <a16:creationId xmlns:a16="http://schemas.microsoft.com/office/drawing/2014/main" id="{0D126432-55CE-41D8-A980-8218EFEBE481}"/>
                    </a:ext>
                  </a:extLst>
                </p:cNvPr>
                <p:cNvSpPr/>
                <p:nvPr/>
              </p:nvSpPr>
              <p:spPr>
                <a:xfrm>
                  <a:off x="5006243" y="919604"/>
                  <a:ext cx="579726" cy="415038"/>
                </a:xfrm>
                <a:custGeom>
                  <a:avLst/>
                  <a:gdLst>
                    <a:gd name="connsiteX0" fmla="*/ 257938 w 579726"/>
                    <a:gd name="connsiteY0" fmla="*/ 415039 h 415038"/>
                    <a:gd name="connsiteX1" fmla="*/ 250603 w 579726"/>
                    <a:gd name="connsiteY1" fmla="*/ 414848 h 415038"/>
                    <a:gd name="connsiteX2" fmla="*/ 1239 w 579726"/>
                    <a:gd name="connsiteY2" fmla="*/ 117287 h 415038"/>
                    <a:gd name="connsiteX3" fmla="*/ 20193 w 579726"/>
                    <a:gd name="connsiteY3" fmla="*/ 81664 h 415038"/>
                    <a:gd name="connsiteX4" fmla="*/ 55912 w 579726"/>
                    <a:gd name="connsiteY4" fmla="*/ 100618 h 415038"/>
                    <a:gd name="connsiteX5" fmla="*/ 253461 w 579726"/>
                    <a:gd name="connsiteY5" fmla="*/ 357889 h 415038"/>
                    <a:gd name="connsiteX6" fmla="*/ 524733 w 579726"/>
                    <a:gd name="connsiteY6" fmla="*/ 17560 h 415038"/>
                    <a:gd name="connsiteX7" fmla="*/ 562166 w 579726"/>
                    <a:gd name="connsiteY7" fmla="*/ 2225 h 415038"/>
                    <a:gd name="connsiteX8" fmla="*/ 577501 w 579726"/>
                    <a:gd name="connsiteY8" fmla="*/ 39658 h 415038"/>
                    <a:gd name="connsiteX9" fmla="*/ 257938 w 579726"/>
                    <a:gd name="connsiteY9" fmla="*/ 415039 h 41503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579726" h="415038">
                      <a:moveTo>
                        <a:pt x="257938" y="415039"/>
                      </a:moveTo>
                      <a:cubicBezTo>
                        <a:pt x="255461" y="415039"/>
                        <a:pt x="253080" y="414943"/>
                        <a:pt x="250603" y="414848"/>
                      </a:cubicBezTo>
                      <a:cubicBezTo>
                        <a:pt x="91536" y="406942"/>
                        <a:pt x="4858" y="129098"/>
                        <a:pt x="1239" y="117287"/>
                      </a:cubicBezTo>
                      <a:cubicBezTo>
                        <a:pt x="-3333" y="102238"/>
                        <a:pt x="5144" y="86236"/>
                        <a:pt x="20193" y="81664"/>
                      </a:cubicBezTo>
                      <a:cubicBezTo>
                        <a:pt x="35243" y="77092"/>
                        <a:pt x="51245" y="85569"/>
                        <a:pt x="55912" y="100618"/>
                      </a:cubicBezTo>
                      <a:cubicBezTo>
                        <a:pt x="77343" y="170532"/>
                        <a:pt x="154591" y="352936"/>
                        <a:pt x="253461" y="357889"/>
                      </a:cubicBezTo>
                      <a:cubicBezTo>
                        <a:pt x="311182" y="360746"/>
                        <a:pt x="404813" y="303977"/>
                        <a:pt x="524733" y="17560"/>
                      </a:cubicBezTo>
                      <a:cubicBezTo>
                        <a:pt x="530829" y="2987"/>
                        <a:pt x="547593" y="-3871"/>
                        <a:pt x="562166" y="2225"/>
                      </a:cubicBezTo>
                      <a:cubicBezTo>
                        <a:pt x="576739" y="8321"/>
                        <a:pt x="583597" y="25085"/>
                        <a:pt x="577501" y="39658"/>
                      </a:cubicBezTo>
                      <a:cubicBezTo>
                        <a:pt x="471774" y="292071"/>
                        <a:pt x="367094" y="415039"/>
                        <a:pt x="257938" y="415039"/>
                      </a:cubicBezTo>
                      <a:close/>
                    </a:path>
                  </a:pathLst>
                </a:custGeom>
                <a:solidFill>
                  <a:srgbClr val="883827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70" name="ïṣlïḑê">
                  <a:extLst>
                    <a:ext uri="{FF2B5EF4-FFF2-40B4-BE49-F238E27FC236}">
                      <a16:creationId xmlns:a16="http://schemas.microsoft.com/office/drawing/2014/main" id="{11748B94-BA4E-4A5B-9FB9-CA8BFE58CADA}"/>
                    </a:ext>
                  </a:extLst>
                </p:cNvPr>
                <p:cNvSpPr/>
                <p:nvPr/>
              </p:nvSpPr>
              <p:spPr>
                <a:xfrm>
                  <a:off x="4924596" y="989403"/>
                  <a:ext cx="765977" cy="348192"/>
                </a:xfrm>
                <a:custGeom>
                  <a:avLst/>
                  <a:gdLst>
                    <a:gd name="connsiteX0" fmla="*/ 336251 w 765977"/>
                    <a:gd name="connsiteY0" fmla="*/ 348193 h 348192"/>
                    <a:gd name="connsiteX1" fmla="*/ 318058 w 765977"/>
                    <a:gd name="connsiteY1" fmla="*/ 347621 h 348192"/>
                    <a:gd name="connsiteX2" fmla="*/ 3352 w 765977"/>
                    <a:gd name="connsiteY2" fmla="*/ 117211 h 348192"/>
                    <a:gd name="connsiteX3" fmla="*/ 15259 w 765977"/>
                    <a:gd name="connsiteY3" fmla="*/ 78540 h 348192"/>
                    <a:gd name="connsiteX4" fmla="*/ 53835 w 765977"/>
                    <a:gd name="connsiteY4" fmla="*/ 90446 h 348192"/>
                    <a:gd name="connsiteX5" fmla="*/ 321964 w 765977"/>
                    <a:gd name="connsiteY5" fmla="*/ 290662 h 348192"/>
                    <a:gd name="connsiteX6" fmla="*/ 714013 w 765977"/>
                    <a:gd name="connsiteY6" fmla="*/ 12151 h 348192"/>
                    <a:gd name="connsiteX7" fmla="*/ 753827 w 765977"/>
                    <a:gd name="connsiteY7" fmla="*/ 5197 h 348192"/>
                    <a:gd name="connsiteX8" fmla="*/ 760780 w 765977"/>
                    <a:gd name="connsiteY8" fmla="*/ 45012 h 348192"/>
                    <a:gd name="connsiteX9" fmla="*/ 336251 w 765977"/>
                    <a:gd name="connsiteY9" fmla="*/ 348193 h 3481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765977" h="348192">
                      <a:moveTo>
                        <a:pt x="336251" y="348193"/>
                      </a:moveTo>
                      <a:cubicBezTo>
                        <a:pt x="330155" y="348193"/>
                        <a:pt x="324154" y="348002"/>
                        <a:pt x="318058" y="347621"/>
                      </a:cubicBezTo>
                      <a:cubicBezTo>
                        <a:pt x="120986" y="335239"/>
                        <a:pt x="8020" y="126070"/>
                        <a:pt x="3352" y="117211"/>
                      </a:cubicBezTo>
                      <a:cubicBezTo>
                        <a:pt x="-4077" y="103305"/>
                        <a:pt x="1257" y="85969"/>
                        <a:pt x="15259" y="78540"/>
                      </a:cubicBezTo>
                      <a:cubicBezTo>
                        <a:pt x="29165" y="71206"/>
                        <a:pt x="46501" y="76444"/>
                        <a:pt x="53835" y="90446"/>
                      </a:cubicBezTo>
                      <a:cubicBezTo>
                        <a:pt x="54978" y="92637"/>
                        <a:pt x="156991" y="280470"/>
                        <a:pt x="321964" y="290662"/>
                      </a:cubicBezTo>
                      <a:cubicBezTo>
                        <a:pt x="447027" y="298377"/>
                        <a:pt x="578853" y="204651"/>
                        <a:pt x="714013" y="12151"/>
                      </a:cubicBezTo>
                      <a:cubicBezTo>
                        <a:pt x="723061" y="-803"/>
                        <a:pt x="740873" y="-3851"/>
                        <a:pt x="753827" y="5197"/>
                      </a:cubicBezTo>
                      <a:cubicBezTo>
                        <a:pt x="766781" y="14246"/>
                        <a:pt x="769829" y="32058"/>
                        <a:pt x="760780" y="45012"/>
                      </a:cubicBezTo>
                      <a:cubicBezTo>
                        <a:pt x="619334" y="246275"/>
                        <a:pt x="476650" y="348193"/>
                        <a:pt x="336251" y="348193"/>
                      </a:cubicBezTo>
                      <a:close/>
                    </a:path>
                  </a:pathLst>
                </a:custGeom>
                <a:solidFill>
                  <a:srgbClr val="883827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71" name="îŝľïḍè">
                  <a:extLst>
                    <a:ext uri="{FF2B5EF4-FFF2-40B4-BE49-F238E27FC236}">
                      <a16:creationId xmlns:a16="http://schemas.microsoft.com/office/drawing/2014/main" id="{8D122027-FF1B-4306-930C-8E0079C73061}"/>
                    </a:ext>
                  </a:extLst>
                </p:cNvPr>
                <p:cNvSpPr/>
                <p:nvPr/>
              </p:nvSpPr>
              <p:spPr>
                <a:xfrm>
                  <a:off x="5248083" y="1279103"/>
                  <a:ext cx="372786" cy="242705"/>
                </a:xfrm>
                <a:custGeom>
                  <a:avLst/>
                  <a:gdLst>
                    <a:gd name="connsiteX0" fmla="*/ 245650 w 372786"/>
                    <a:gd name="connsiteY0" fmla="*/ 242705 h 242705"/>
                    <a:gd name="connsiteX1" fmla="*/ 151067 w 372786"/>
                    <a:gd name="connsiteY1" fmla="*/ 221465 h 242705"/>
                    <a:gd name="connsiteX2" fmla="*/ 1239 w 372786"/>
                    <a:gd name="connsiteY2" fmla="*/ 36965 h 242705"/>
                    <a:gd name="connsiteX3" fmla="*/ 20194 w 372786"/>
                    <a:gd name="connsiteY3" fmla="*/ 1247 h 242705"/>
                    <a:gd name="connsiteX4" fmla="*/ 55912 w 372786"/>
                    <a:gd name="connsiteY4" fmla="*/ 20201 h 242705"/>
                    <a:gd name="connsiteX5" fmla="*/ 55912 w 372786"/>
                    <a:gd name="connsiteY5" fmla="*/ 20201 h 242705"/>
                    <a:gd name="connsiteX6" fmla="*/ 176022 w 372786"/>
                    <a:gd name="connsiteY6" fmla="*/ 170125 h 242705"/>
                    <a:gd name="connsiteX7" fmla="*/ 333566 w 372786"/>
                    <a:gd name="connsiteY7" fmla="*/ 166791 h 242705"/>
                    <a:gd name="connsiteX8" fmla="*/ 370713 w 372786"/>
                    <a:gd name="connsiteY8" fmla="*/ 182698 h 242705"/>
                    <a:gd name="connsiteX9" fmla="*/ 354807 w 372786"/>
                    <a:gd name="connsiteY9" fmla="*/ 219845 h 242705"/>
                    <a:gd name="connsiteX10" fmla="*/ 245650 w 372786"/>
                    <a:gd name="connsiteY10" fmla="*/ 242705 h 24270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372786" h="242705">
                      <a:moveTo>
                        <a:pt x="245650" y="242705"/>
                      </a:moveTo>
                      <a:cubicBezTo>
                        <a:pt x="212313" y="242705"/>
                        <a:pt x="180785" y="235657"/>
                        <a:pt x="151067" y="221465"/>
                      </a:cubicBezTo>
                      <a:cubicBezTo>
                        <a:pt x="42958" y="169744"/>
                        <a:pt x="2953" y="42299"/>
                        <a:pt x="1239" y="36965"/>
                      </a:cubicBezTo>
                      <a:cubicBezTo>
                        <a:pt x="-3333" y="21916"/>
                        <a:pt x="5144" y="5914"/>
                        <a:pt x="20194" y="1247"/>
                      </a:cubicBezTo>
                      <a:cubicBezTo>
                        <a:pt x="35243" y="-3325"/>
                        <a:pt x="51245" y="5057"/>
                        <a:pt x="55912" y="20201"/>
                      </a:cubicBezTo>
                      <a:lnTo>
                        <a:pt x="55912" y="20201"/>
                      </a:lnTo>
                      <a:cubicBezTo>
                        <a:pt x="56293" y="21249"/>
                        <a:pt x="90679" y="129453"/>
                        <a:pt x="176022" y="170125"/>
                      </a:cubicBezTo>
                      <a:cubicBezTo>
                        <a:pt x="221362" y="191747"/>
                        <a:pt x="274416" y="190604"/>
                        <a:pt x="333566" y="166791"/>
                      </a:cubicBezTo>
                      <a:cubicBezTo>
                        <a:pt x="348235" y="160886"/>
                        <a:pt x="364808" y="168029"/>
                        <a:pt x="370713" y="182698"/>
                      </a:cubicBezTo>
                      <a:cubicBezTo>
                        <a:pt x="376619" y="197366"/>
                        <a:pt x="369475" y="213940"/>
                        <a:pt x="354807" y="219845"/>
                      </a:cubicBezTo>
                      <a:cubicBezTo>
                        <a:pt x="316802" y="235085"/>
                        <a:pt x="280226" y="242705"/>
                        <a:pt x="245650" y="242705"/>
                      </a:cubicBezTo>
                      <a:close/>
                    </a:path>
                  </a:pathLst>
                </a:custGeom>
                <a:solidFill>
                  <a:srgbClr val="883827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grpSp>
            <p:nvGrpSpPr>
              <p:cNvPr id="34" name="îṣlïḑè">
                <a:extLst>
                  <a:ext uri="{FF2B5EF4-FFF2-40B4-BE49-F238E27FC236}">
                    <a16:creationId xmlns:a16="http://schemas.microsoft.com/office/drawing/2014/main" id="{4C16AFE7-A2A5-4E73-8159-7A07D23383A9}"/>
                  </a:ext>
                </a:extLst>
              </p:cNvPr>
              <p:cNvGrpSpPr/>
              <p:nvPr/>
            </p:nvGrpSpPr>
            <p:grpSpPr>
              <a:xfrm>
                <a:off x="6686400" y="919509"/>
                <a:ext cx="765917" cy="602300"/>
                <a:chOff x="6686400" y="919509"/>
                <a:chExt cx="765917" cy="602300"/>
              </a:xfrm>
              <a:solidFill>
                <a:srgbClr val="883827"/>
              </a:solidFill>
            </p:grpSpPr>
            <p:sp>
              <p:nvSpPr>
                <p:cNvPr id="66" name="î$ḷïḑé">
                  <a:extLst>
                    <a:ext uri="{FF2B5EF4-FFF2-40B4-BE49-F238E27FC236}">
                      <a16:creationId xmlns:a16="http://schemas.microsoft.com/office/drawing/2014/main" id="{1A3712C7-6226-4E50-8C6A-5FDE65B4A99C}"/>
                    </a:ext>
                  </a:extLst>
                </p:cNvPr>
                <p:cNvSpPr/>
                <p:nvPr/>
              </p:nvSpPr>
              <p:spPr>
                <a:xfrm>
                  <a:off x="6791099" y="919509"/>
                  <a:ext cx="579761" cy="415133"/>
                </a:xfrm>
                <a:custGeom>
                  <a:avLst/>
                  <a:gdLst>
                    <a:gd name="connsiteX0" fmla="*/ 321789 w 579761"/>
                    <a:gd name="connsiteY0" fmla="*/ 415134 h 415133"/>
                    <a:gd name="connsiteX1" fmla="*/ 2225 w 579761"/>
                    <a:gd name="connsiteY1" fmla="*/ 39658 h 415133"/>
                    <a:gd name="connsiteX2" fmla="*/ 17560 w 579761"/>
                    <a:gd name="connsiteY2" fmla="*/ 2225 h 415133"/>
                    <a:gd name="connsiteX3" fmla="*/ 54994 w 579761"/>
                    <a:gd name="connsiteY3" fmla="*/ 17560 h 415133"/>
                    <a:gd name="connsiteX4" fmla="*/ 326266 w 579761"/>
                    <a:gd name="connsiteY4" fmla="*/ 357889 h 415133"/>
                    <a:gd name="connsiteX5" fmla="*/ 523814 w 579761"/>
                    <a:gd name="connsiteY5" fmla="*/ 100714 h 415133"/>
                    <a:gd name="connsiteX6" fmla="*/ 559533 w 579761"/>
                    <a:gd name="connsiteY6" fmla="*/ 81759 h 415133"/>
                    <a:gd name="connsiteX7" fmla="*/ 578488 w 579761"/>
                    <a:gd name="connsiteY7" fmla="*/ 117478 h 415133"/>
                    <a:gd name="connsiteX8" fmla="*/ 329123 w 579761"/>
                    <a:gd name="connsiteY8" fmla="*/ 415039 h 415133"/>
                    <a:gd name="connsiteX9" fmla="*/ 321789 w 579761"/>
                    <a:gd name="connsiteY9" fmla="*/ 415134 h 4151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579761" h="415133">
                      <a:moveTo>
                        <a:pt x="321789" y="415134"/>
                      </a:moveTo>
                      <a:cubicBezTo>
                        <a:pt x="212537" y="415134"/>
                        <a:pt x="107953" y="292166"/>
                        <a:pt x="2225" y="39658"/>
                      </a:cubicBezTo>
                      <a:cubicBezTo>
                        <a:pt x="-3871" y="25085"/>
                        <a:pt x="2987" y="8321"/>
                        <a:pt x="17560" y="2225"/>
                      </a:cubicBezTo>
                      <a:cubicBezTo>
                        <a:pt x="32038" y="-3871"/>
                        <a:pt x="48898" y="2987"/>
                        <a:pt x="54994" y="17560"/>
                      </a:cubicBezTo>
                      <a:cubicBezTo>
                        <a:pt x="174913" y="303977"/>
                        <a:pt x="268449" y="360746"/>
                        <a:pt x="326266" y="357889"/>
                      </a:cubicBezTo>
                      <a:cubicBezTo>
                        <a:pt x="425326" y="352936"/>
                        <a:pt x="502478" y="170532"/>
                        <a:pt x="523814" y="100714"/>
                      </a:cubicBezTo>
                      <a:cubicBezTo>
                        <a:pt x="528481" y="85664"/>
                        <a:pt x="544388" y="77092"/>
                        <a:pt x="559533" y="81759"/>
                      </a:cubicBezTo>
                      <a:cubicBezTo>
                        <a:pt x="574582" y="86331"/>
                        <a:pt x="583155" y="102333"/>
                        <a:pt x="578488" y="117478"/>
                      </a:cubicBezTo>
                      <a:cubicBezTo>
                        <a:pt x="574868" y="129289"/>
                        <a:pt x="488191" y="407133"/>
                        <a:pt x="329123" y="415039"/>
                      </a:cubicBezTo>
                      <a:cubicBezTo>
                        <a:pt x="326647" y="415134"/>
                        <a:pt x="324170" y="415134"/>
                        <a:pt x="321789" y="415134"/>
                      </a:cubicBezTo>
                      <a:close/>
                    </a:path>
                  </a:pathLst>
                </a:custGeom>
                <a:solidFill>
                  <a:srgbClr val="883827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67" name="íṥļíďe">
                  <a:extLst>
                    <a:ext uri="{FF2B5EF4-FFF2-40B4-BE49-F238E27FC236}">
                      <a16:creationId xmlns:a16="http://schemas.microsoft.com/office/drawing/2014/main" id="{30C5449F-C07B-401D-9B89-4991564FB86E}"/>
                    </a:ext>
                  </a:extLst>
                </p:cNvPr>
                <p:cNvSpPr/>
                <p:nvPr/>
              </p:nvSpPr>
              <p:spPr>
                <a:xfrm>
                  <a:off x="6686400" y="989334"/>
                  <a:ext cx="765917" cy="348261"/>
                </a:xfrm>
                <a:custGeom>
                  <a:avLst/>
                  <a:gdLst>
                    <a:gd name="connsiteX0" fmla="*/ 429727 w 765917"/>
                    <a:gd name="connsiteY0" fmla="*/ 348262 h 348261"/>
                    <a:gd name="connsiteX1" fmla="*/ 5197 w 765917"/>
                    <a:gd name="connsiteY1" fmla="*/ 44986 h 348261"/>
                    <a:gd name="connsiteX2" fmla="*/ 12151 w 765917"/>
                    <a:gd name="connsiteY2" fmla="*/ 5171 h 348261"/>
                    <a:gd name="connsiteX3" fmla="*/ 51965 w 765917"/>
                    <a:gd name="connsiteY3" fmla="*/ 12124 h 348261"/>
                    <a:gd name="connsiteX4" fmla="*/ 444300 w 765917"/>
                    <a:gd name="connsiteY4" fmla="*/ 290635 h 348261"/>
                    <a:gd name="connsiteX5" fmla="*/ 712143 w 765917"/>
                    <a:gd name="connsiteY5" fmla="*/ 90515 h 348261"/>
                    <a:gd name="connsiteX6" fmla="*/ 750719 w 765917"/>
                    <a:gd name="connsiteY6" fmla="*/ 78609 h 348261"/>
                    <a:gd name="connsiteX7" fmla="*/ 762625 w 765917"/>
                    <a:gd name="connsiteY7" fmla="*/ 117280 h 348261"/>
                    <a:gd name="connsiteX8" fmla="*/ 447920 w 765917"/>
                    <a:gd name="connsiteY8" fmla="*/ 347690 h 348261"/>
                    <a:gd name="connsiteX9" fmla="*/ 429727 w 765917"/>
                    <a:gd name="connsiteY9" fmla="*/ 348262 h 34826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765917" h="348261">
                      <a:moveTo>
                        <a:pt x="429727" y="348262"/>
                      </a:moveTo>
                      <a:cubicBezTo>
                        <a:pt x="289328" y="348262"/>
                        <a:pt x="146644" y="246344"/>
                        <a:pt x="5197" y="44986"/>
                      </a:cubicBezTo>
                      <a:cubicBezTo>
                        <a:pt x="-3851" y="32032"/>
                        <a:pt x="-803" y="14220"/>
                        <a:pt x="12151" y="5171"/>
                      </a:cubicBezTo>
                      <a:cubicBezTo>
                        <a:pt x="25105" y="-3878"/>
                        <a:pt x="42916" y="-734"/>
                        <a:pt x="51965" y="12124"/>
                      </a:cubicBezTo>
                      <a:cubicBezTo>
                        <a:pt x="187315" y="204815"/>
                        <a:pt x="319237" y="298541"/>
                        <a:pt x="444300" y="290635"/>
                      </a:cubicBezTo>
                      <a:cubicBezTo>
                        <a:pt x="609749" y="280253"/>
                        <a:pt x="711095" y="92420"/>
                        <a:pt x="712143" y="90515"/>
                      </a:cubicBezTo>
                      <a:cubicBezTo>
                        <a:pt x="719477" y="76609"/>
                        <a:pt x="736813" y="71275"/>
                        <a:pt x="750719" y="78609"/>
                      </a:cubicBezTo>
                      <a:cubicBezTo>
                        <a:pt x="764626" y="86038"/>
                        <a:pt x="769960" y="103279"/>
                        <a:pt x="762625" y="117280"/>
                      </a:cubicBezTo>
                      <a:cubicBezTo>
                        <a:pt x="757863" y="126139"/>
                        <a:pt x="644992" y="335308"/>
                        <a:pt x="447920" y="347690"/>
                      </a:cubicBezTo>
                      <a:cubicBezTo>
                        <a:pt x="441823" y="348071"/>
                        <a:pt x="435823" y="348262"/>
                        <a:pt x="429727" y="348262"/>
                      </a:cubicBezTo>
                      <a:close/>
                    </a:path>
                  </a:pathLst>
                </a:custGeom>
                <a:solidFill>
                  <a:srgbClr val="883827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68" name="í$ḻïḍe">
                  <a:extLst>
                    <a:ext uri="{FF2B5EF4-FFF2-40B4-BE49-F238E27FC236}">
                      <a16:creationId xmlns:a16="http://schemas.microsoft.com/office/drawing/2014/main" id="{CDEE760E-0EF5-4FA7-8054-8E407EDD28CD}"/>
                    </a:ext>
                  </a:extLst>
                </p:cNvPr>
                <p:cNvSpPr/>
                <p:nvPr/>
              </p:nvSpPr>
              <p:spPr>
                <a:xfrm>
                  <a:off x="6756143" y="1278981"/>
                  <a:ext cx="372782" cy="242827"/>
                </a:xfrm>
                <a:custGeom>
                  <a:avLst/>
                  <a:gdLst>
                    <a:gd name="connsiteX0" fmla="*/ 127193 w 372782"/>
                    <a:gd name="connsiteY0" fmla="*/ 242828 h 242827"/>
                    <a:gd name="connsiteX1" fmla="*/ 17941 w 372782"/>
                    <a:gd name="connsiteY1" fmla="*/ 219873 h 242827"/>
                    <a:gd name="connsiteX2" fmla="*/ 2034 w 372782"/>
                    <a:gd name="connsiteY2" fmla="*/ 182725 h 242827"/>
                    <a:gd name="connsiteX3" fmla="*/ 39182 w 372782"/>
                    <a:gd name="connsiteY3" fmla="*/ 166818 h 242827"/>
                    <a:gd name="connsiteX4" fmla="*/ 197011 w 372782"/>
                    <a:gd name="connsiteY4" fmla="*/ 169962 h 242827"/>
                    <a:gd name="connsiteX5" fmla="*/ 316835 w 372782"/>
                    <a:gd name="connsiteY5" fmla="*/ 20229 h 242827"/>
                    <a:gd name="connsiteX6" fmla="*/ 352554 w 372782"/>
                    <a:gd name="connsiteY6" fmla="*/ 1274 h 242827"/>
                    <a:gd name="connsiteX7" fmla="*/ 371509 w 372782"/>
                    <a:gd name="connsiteY7" fmla="*/ 36993 h 242827"/>
                    <a:gd name="connsiteX8" fmla="*/ 221680 w 372782"/>
                    <a:gd name="connsiteY8" fmla="*/ 221492 h 242827"/>
                    <a:gd name="connsiteX9" fmla="*/ 127193 w 372782"/>
                    <a:gd name="connsiteY9" fmla="*/ 242828 h 24282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372782" h="242827">
                      <a:moveTo>
                        <a:pt x="127193" y="242828"/>
                      </a:moveTo>
                      <a:cubicBezTo>
                        <a:pt x="92521" y="242828"/>
                        <a:pt x="56041" y="235208"/>
                        <a:pt x="17941" y="219873"/>
                      </a:cubicBezTo>
                      <a:cubicBezTo>
                        <a:pt x="3272" y="213967"/>
                        <a:pt x="-3776" y="197394"/>
                        <a:pt x="2034" y="182725"/>
                      </a:cubicBezTo>
                      <a:cubicBezTo>
                        <a:pt x="7940" y="168056"/>
                        <a:pt x="24608" y="161008"/>
                        <a:pt x="39182" y="166818"/>
                      </a:cubicBezTo>
                      <a:cubicBezTo>
                        <a:pt x="98522" y="190631"/>
                        <a:pt x="151672" y="191679"/>
                        <a:pt x="197011" y="169962"/>
                      </a:cubicBezTo>
                      <a:cubicBezTo>
                        <a:pt x="282736" y="129004"/>
                        <a:pt x="316454" y="21372"/>
                        <a:pt x="316835" y="20229"/>
                      </a:cubicBezTo>
                      <a:cubicBezTo>
                        <a:pt x="321407" y="5179"/>
                        <a:pt x="337409" y="-3394"/>
                        <a:pt x="352554" y="1274"/>
                      </a:cubicBezTo>
                      <a:cubicBezTo>
                        <a:pt x="367604" y="5846"/>
                        <a:pt x="376176" y="21848"/>
                        <a:pt x="371509" y="36993"/>
                      </a:cubicBezTo>
                      <a:cubicBezTo>
                        <a:pt x="369890" y="42422"/>
                        <a:pt x="329789" y="169866"/>
                        <a:pt x="221680" y="221492"/>
                      </a:cubicBezTo>
                      <a:cubicBezTo>
                        <a:pt x="192058" y="235779"/>
                        <a:pt x="160435" y="242828"/>
                        <a:pt x="127193" y="242828"/>
                      </a:cubicBezTo>
                      <a:close/>
                    </a:path>
                  </a:pathLst>
                </a:custGeom>
                <a:solidFill>
                  <a:srgbClr val="883827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sp>
            <p:nvSpPr>
              <p:cNvPr id="35" name="iṣlîḋè">
                <a:extLst>
                  <a:ext uri="{FF2B5EF4-FFF2-40B4-BE49-F238E27FC236}">
                    <a16:creationId xmlns:a16="http://schemas.microsoft.com/office/drawing/2014/main" id="{86547C27-C2E4-4314-B768-907D13DE7627}"/>
                  </a:ext>
                </a:extLst>
              </p:cNvPr>
              <p:cNvSpPr/>
              <p:nvPr/>
            </p:nvSpPr>
            <p:spPr>
              <a:xfrm>
                <a:off x="5228557" y="1213104"/>
                <a:ext cx="1949576" cy="1949576"/>
              </a:xfrm>
              <a:custGeom>
                <a:avLst/>
                <a:gdLst>
                  <a:gd name="connsiteX0" fmla="*/ 1949577 w 1949576"/>
                  <a:gd name="connsiteY0" fmla="*/ 974788 h 1949576"/>
                  <a:gd name="connsiteX1" fmla="*/ 974788 w 1949576"/>
                  <a:gd name="connsiteY1" fmla="*/ 1949577 h 1949576"/>
                  <a:gd name="connsiteX2" fmla="*/ 0 w 1949576"/>
                  <a:gd name="connsiteY2" fmla="*/ 974788 h 1949576"/>
                  <a:gd name="connsiteX3" fmla="*/ 974788 w 1949576"/>
                  <a:gd name="connsiteY3" fmla="*/ 0 h 1949576"/>
                  <a:gd name="connsiteX4" fmla="*/ 1949577 w 1949576"/>
                  <a:gd name="connsiteY4" fmla="*/ 974788 h 19495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949576" h="1949576">
                    <a:moveTo>
                      <a:pt x="1949577" y="974788"/>
                    </a:moveTo>
                    <a:cubicBezTo>
                      <a:pt x="1949577" y="1513142"/>
                      <a:pt x="1513142" y="1949577"/>
                      <a:pt x="974788" y="1949577"/>
                    </a:cubicBezTo>
                    <a:cubicBezTo>
                      <a:pt x="436436" y="1949577"/>
                      <a:pt x="0" y="1513142"/>
                      <a:pt x="0" y="974788"/>
                    </a:cubicBezTo>
                    <a:cubicBezTo>
                      <a:pt x="0" y="436436"/>
                      <a:pt x="436436" y="0"/>
                      <a:pt x="974788" y="0"/>
                    </a:cubicBezTo>
                    <a:cubicBezTo>
                      <a:pt x="1513142" y="0"/>
                      <a:pt x="1949577" y="436436"/>
                      <a:pt x="1949577" y="974788"/>
                    </a:cubicBezTo>
                    <a:close/>
                  </a:path>
                </a:pathLst>
              </a:custGeom>
              <a:solidFill>
                <a:srgbClr val="AA5535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36" name="ïṥḻiďè">
                <a:extLst>
                  <a:ext uri="{FF2B5EF4-FFF2-40B4-BE49-F238E27FC236}">
                    <a16:creationId xmlns:a16="http://schemas.microsoft.com/office/drawing/2014/main" id="{957310EB-B494-4040-BCAB-50916EB41620}"/>
                  </a:ext>
                </a:extLst>
              </p:cNvPr>
              <p:cNvSpPr/>
              <p:nvPr/>
            </p:nvSpPr>
            <p:spPr>
              <a:xfrm>
                <a:off x="5743955" y="1427416"/>
                <a:ext cx="196786" cy="196786"/>
              </a:xfrm>
              <a:custGeom>
                <a:avLst/>
                <a:gdLst>
                  <a:gd name="connsiteX0" fmla="*/ 196787 w 196786"/>
                  <a:gd name="connsiteY0" fmla="*/ 98393 h 196786"/>
                  <a:gd name="connsiteX1" fmla="*/ 98393 w 196786"/>
                  <a:gd name="connsiteY1" fmla="*/ 196786 h 196786"/>
                  <a:gd name="connsiteX2" fmla="*/ 0 w 196786"/>
                  <a:gd name="connsiteY2" fmla="*/ 98393 h 196786"/>
                  <a:gd name="connsiteX3" fmla="*/ 98393 w 196786"/>
                  <a:gd name="connsiteY3" fmla="*/ 0 h 196786"/>
                  <a:gd name="connsiteX4" fmla="*/ 196787 w 196786"/>
                  <a:gd name="connsiteY4" fmla="*/ 98393 h 1967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96786" h="196786">
                    <a:moveTo>
                      <a:pt x="196787" y="98393"/>
                    </a:moveTo>
                    <a:cubicBezTo>
                      <a:pt x="196787" y="152781"/>
                      <a:pt x="152686" y="196786"/>
                      <a:pt x="98393" y="196786"/>
                    </a:cubicBezTo>
                    <a:cubicBezTo>
                      <a:pt x="44005" y="196786"/>
                      <a:pt x="0" y="152686"/>
                      <a:pt x="0" y="98393"/>
                    </a:cubicBezTo>
                    <a:cubicBezTo>
                      <a:pt x="0" y="44006"/>
                      <a:pt x="44101" y="0"/>
                      <a:pt x="98393" y="0"/>
                    </a:cubicBezTo>
                    <a:cubicBezTo>
                      <a:pt x="152686" y="0"/>
                      <a:pt x="196787" y="44101"/>
                      <a:pt x="196787" y="98393"/>
                    </a:cubicBezTo>
                    <a:close/>
                  </a:path>
                </a:pathLst>
              </a:custGeom>
              <a:solidFill>
                <a:srgbClr val="7A2A2A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37" name="isḻíḑé">
                <a:extLst>
                  <a:ext uri="{FF2B5EF4-FFF2-40B4-BE49-F238E27FC236}">
                    <a16:creationId xmlns:a16="http://schemas.microsoft.com/office/drawing/2014/main" id="{56D33A82-21B0-42F4-A1BF-703DBD458183}"/>
                  </a:ext>
                </a:extLst>
              </p:cNvPr>
              <p:cNvSpPr/>
              <p:nvPr/>
            </p:nvSpPr>
            <p:spPr>
              <a:xfrm rot="-1350026">
                <a:off x="6452026" y="1427346"/>
                <a:ext cx="196791" cy="196791"/>
              </a:xfrm>
              <a:custGeom>
                <a:avLst/>
                <a:gdLst>
                  <a:gd name="connsiteX0" fmla="*/ 196791 w 196791"/>
                  <a:gd name="connsiteY0" fmla="*/ 98396 h 196791"/>
                  <a:gd name="connsiteX1" fmla="*/ 98396 w 196791"/>
                  <a:gd name="connsiteY1" fmla="*/ 196792 h 196791"/>
                  <a:gd name="connsiteX2" fmla="*/ 0 w 196791"/>
                  <a:gd name="connsiteY2" fmla="*/ 98396 h 196791"/>
                  <a:gd name="connsiteX3" fmla="*/ 98396 w 196791"/>
                  <a:gd name="connsiteY3" fmla="*/ 0 h 196791"/>
                  <a:gd name="connsiteX4" fmla="*/ 196791 w 196791"/>
                  <a:gd name="connsiteY4" fmla="*/ 98396 h 1967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96791" h="196791">
                    <a:moveTo>
                      <a:pt x="196791" y="98396"/>
                    </a:moveTo>
                    <a:cubicBezTo>
                      <a:pt x="196791" y="152738"/>
                      <a:pt x="152738" y="196792"/>
                      <a:pt x="98396" y="196792"/>
                    </a:cubicBezTo>
                    <a:cubicBezTo>
                      <a:pt x="44053" y="196792"/>
                      <a:pt x="0" y="152738"/>
                      <a:pt x="0" y="98396"/>
                    </a:cubicBezTo>
                    <a:cubicBezTo>
                      <a:pt x="0" y="44053"/>
                      <a:pt x="44054" y="0"/>
                      <a:pt x="98396" y="0"/>
                    </a:cubicBezTo>
                    <a:cubicBezTo>
                      <a:pt x="152738" y="0"/>
                      <a:pt x="196791" y="44053"/>
                      <a:pt x="196791" y="98396"/>
                    </a:cubicBezTo>
                    <a:close/>
                  </a:path>
                </a:pathLst>
              </a:custGeom>
              <a:solidFill>
                <a:srgbClr val="7A2A2A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38" name="işḻîḑe">
                <a:extLst>
                  <a:ext uri="{FF2B5EF4-FFF2-40B4-BE49-F238E27FC236}">
                    <a16:creationId xmlns:a16="http://schemas.microsoft.com/office/drawing/2014/main" id="{C713451F-BEBD-4D24-A104-CA4ED345A3FF}"/>
                  </a:ext>
                </a:extLst>
              </p:cNvPr>
              <p:cNvSpPr/>
              <p:nvPr/>
            </p:nvSpPr>
            <p:spPr>
              <a:xfrm>
                <a:off x="5864351" y="1652206"/>
                <a:ext cx="646557" cy="351853"/>
              </a:xfrm>
              <a:custGeom>
                <a:avLst/>
                <a:gdLst>
                  <a:gd name="connsiteX0" fmla="*/ 323279 w 646557"/>
                  <a:gd name="connsiteY0" fmla="*/ 351853 h 351853"/>
                  <a:gd name="connsiteX1" fmla="*/ 0 w 646557"/>
                  <a:gd name="connsiteY1" fmla="*/ 28575 h 351853"/>
                  <a:gd name="connsiteX2" fmla="*/ 28575 w 646557"/>
                  <a:gd name="connsiteY2" fmla="*/ 0 h 351853"/>
                  <a:gd name="connsiteX3" fmla="*/ 57150 w 646557"/>
                  <a:gd name="connsiteY3" fmla="*/ 28575 h 351853"/>
                  <a:gd name="connsiteX4" fmla="*/ 323279 w 646557"/>
                  <a:gd name="connsiteY4" fmla="*/ 294704 h 351853"/>
                  <a:gd name="connsiteX5" fmla="*/ 589407 w 646557"/>
                  <a:gd name="connsiteY5" fmla="*/ 28575 h 351853"/>
                  <a:gd name="connsiteX6" fmla="*/ 617982 w 646557"/>
                  <a:gd name="connsiteY6" fmla="*/ 0 h 351853"/>
                  <a:gd name="connsiteX7" fmla="*/ 646557 w 646557"/>
                  <a:gd name="connsiteY7" fmla="*/ 28575 h 351853"/>
                  <a:gd name="connsiteX8" fmla="*/ 323279 w 646557"/>
                  <a:gd name="connsiteY8" fmla="*/ 351853 h 3518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646557" h="351853">
                    <a:moveTo>
                      <a:pt x="323279" y="351853"/>
                    </a:moveTo>
                    <a:cubicBezTo>
                      <a:pt x="145066" y="351853"/>
                      <a:pt x="0" y="206883"/>
                      <a:pt x="0" y="28575"/>
                    </a:cubicBezTo>
                    <a:cubicBezTo>
                      <a:pt x="0" y="12764"/>
                      <a:pt x="12763" y="0"/>
                      <a:pt x="28575" y="0"/>
                    </a:cubicBezTo>
                    <a:cubicBezTo>
                      <a:pt x="44387" y="0"/>
                      <a:pt x="57150" y="12764"/>
                      <a:pt x="57150" y="28575"/>
                    </a:cubicBezTo>
                    <a:cubicBezTo>
                      <a:pt x="57150" y="175260"/>
                      <a:pt x="176498" y="294704"/>
                      <a:pt x="323279" y="294704"/>
                    </a:cubicBezTo>
                    <a:cubicBezTo>
                      <a:pt x="469963" y="294704"/>
                      <a:pt x="589407" y="175355"/>
                      <a:pt x="589407" y="28575"/>
                    </a:cubicBezTo>
                    <a:cubicBezTo>
                      <a:pt x="589407" y="12764"/>
                      <a:pt x="602171" y="0"/>
                      <a:pt x="617982" y="0"/>
                    </a:cubicBezTo>
                    <a:cubicBezTo>
                      <a:pt x="633794" y="0"/>
                      <a:pt x="646557" y="12764"/>
                      <a:pt x="646557" y="28575"/>
                    </a:cubicBezTo>
                    <a:cubicBezTo>
                      <a:pt x="646462" y="206883"/>
                      <a:pt x="501491" y="351853"/>
                      <a:pt x="323279" y="351853"/>
                    </a:cubicBezTo>
                    <a:close/>
                  </a:path>
                </a:pathLst>
              </a:custGeom>
              <a:solidFill>
                <a:srgbClr val="883827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39" name="iśḷíḑe">
                <a:extLst>
                  <a:ext uri="{FF2B5EF4-FFF2-40B4-BE49-F238E27FC236}">
                    <a16:creationId xmlns:a16="http://schemas.microsoft.com/office/drawing/2014/main" id="{050ABD41-0AA6-4281-87B4-0F79E68B3BE6}"/>
                  </a:ext>
                </a:extLst>
              </p:cNvPr>
              <p:cNvSpPr/>
              <p:nvPr/>
            </p:nvSpPr>
            <p:spPr>
              <a:xfrm>
                <a:off x="5045582" y="1600200"/>
                <a:ext cx="298513" cy="298513"/>
              </a:xfrm>
              <a:custGeom>
                <a:avLst/>
                <a:gdLst>
                  <a:gd name="connsiteX0" fmla="*/ 298513 w 298513"/>
                  <a:gd name="connsiteY0" fmla="*/ 149257 h 298513"/>
                  <a:gd name="connsiteX1" fmla="*/ 149257 w 298513"/>
                  <a:gd name="connsiteY1" fmla="*/ 298513 h 298513"/>
                  <a:gd name="connsiteX2" fmla="*/ 0 w 298513"/>
                  <a:gd name="connsiteY2" fmla="*/ 149257 h 298513"/>
                  <a:gd name="connsiteX3" fmla="*/ 149257 w 298513"/>
                  <a:gd name="connsiteY3" fmla="*/ 0 h 298513"/>
                  <a:gd name="connsiteX4" fmla="*/ 298513 w 298513"/>
                  <a:gd name="connsiteY4" fmla="*/ 149257 h 2985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98513" h="298513">
                    <a:moveTo>
                      <a:pt x="298513" y="149257"/>
                    </a:moveTo>
                    <a:cubicBezTo>
                      <a:pt x="298513" y="231648"/>
                      <a:pt x="231648" y="298513"/>
                      <a:pt x="149257" y="298513"/>
                    </a:cubicBezTo>
                    <a:cubicBezTo>
                      <a:pt x="66865" y="298513"/>
                      <a:pt x="0" y="231648"/>
                      <a:pt x="0" y="149257"/>
                    </a:cubicBezTo>
                    <a:cubicBezTo>
                      <a:pt x="0" y="66865"/>
                      <a:pt x="66865" y="0"/>
                      <a:pt x="149257" y="0"/>
                    </a:cubicBezTo>
                    <a:cubicBezTo>
                      <a:pt x="231648" y="0"/>
                      <a:pt x="298513" y="66865"/>
                      <a:pt x="298513" y="149257"/>
                    </a:cubicBezTo>
                    <a:close/>
                  </a:path>
                </a:pathLst>
              </a:custGeom>
              <a:solidFill>
                <a:srgbClr val="AA5535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40" name="íŝlíḓê">
                <a:extLst>
                  <a:ext uri="{FF2B5EF4-FFF2-40B4-BE49-F238E27FC236}">
                    <a16:creationId xmlns:a16="http://schemas.microsoft.com/office/drawing/2014/main" id="{AD873C88-AC94-4B4A-95B8-669E13225A96}"/>
                  </a:ext>
                </a:extLst>
              </p:cNvPr>
              <p:cNvSpPr/>
              <p:nvPr/>
            </p:nvSpPr>
            <p:spPr>
              <a:xfrm>
                <a:off x="5954743" y="1567148"/>
                <a:ext cx="459009" cy="219075"/>
              </a:xfrm>
              <a:custGeom>
                <a:avLst/>
                <a:gdLst>
                  <a:gd name="connsiteX0" fmla="*/ 459009 w 459009"/>
                  <a:gd name="connsiteY0" fmla="*/ 109538 h 219075"/>
                  <a:gd name="connsiteX1" fmla="*/ 229552 w 459009"/>
                  <a:gd name="connsiteY1" fmla="*/ 219075 h 219075"/>
                  <a:gd name="connsiteX2" fmla="*/ 0 w 459009"/>
                  <a:gd name="connsiteY2" fmla="*/ 109538 h 219075"/>
                  <a:gd name="connsiteX3" fmla="*/ 229552 w 459009"/>
                  <a:gd name="connsiteY3" fmla="*/ 0 h 219075"/>
                  <a:gd name="connsiteX4" fmla="*/ 459009 w 459009"/>
                  <a:gd name="connsiteY4" fmla="*/ 109538 h 2190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59009" h="219075">
                    <a:moveTo>
                      <a:pt x="459009" y="109538"/>
                    </a:moveTo>
                    <a:cubicBezTo>
                      <a:pt x="459009" y="170021"/>
                      <a:pt x="356235" y="219075"/>
                      <a:pt x="229552" y="219075"/>
                    </a:cubicBezTo>
                    <a:cubicBezTo>
                      <a:pt x="102775" y="219075"/>
                      <a:pt x="0" y="170021"/>
                      <a:pt x="0" y="109538"/>
                    </a:cubicBezTo>
                    <a:cubicBezTo>
                      <a:pt x="0" y="49054"/>
                      <a:pt x="102775" y="0"/>
                      <a:pt x="229552" y="0"/>
                    </a:cubicBezTo>
                    <a:cubicBezTo>
                      <a:pt x="356235" y="0"/>
                      <a:pt x="459009" y="49054"/>
                      <a:pt x="459009" y="109538"/>
                    </a:cubicBezTo>
                    <a:close/>
                  </a:path>
                </a:pathLst>
              </a:custGeom>
              <a:solidFill>
                <a:srgbClr val="CD3D3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41" name="iṧḻîde">
                <a:extLst>
                  <a:ext uri="{FF2B5EF4-FFF2-40B4-BE49-F238E27FC236}">
                    <a16:creationId xmlns:a16="http://schemas.microsoft.com/office/drawing/2014/main" id="{3A58AA56-8C89-438E-875F-A3B25C75724D}"/>
                  </a:ext>
                </a:extLst>
              </p:cNvPr>
              <p:cNvSpPr/>
              <p:nvPr/>
            </p:nvSpPr>
            <p:spPr>
              <a:xfrm>
                <a:off x="6561581" y="1618297"/>
                <a:ext cx="218312" cy="218312"/>
              </a:xfrm>
              <a:custGeom>
                <a:avLst/>
                <a:gdLst>
                  <a:gd name="connsiteX0" fmla="*/ 218313 w 218312"/>
                  <a:gd name="connsiteY0" fmla="*/ 109156 h 218312"/>
                  <a:gd name="connsiteX1" fmla="*/ 109156 w 218312"/>
                  <a:gd name="connsiteY1" fmla="*/ 218313 h 218312"/>
                  <a:gd name="connsiteX2" fmla="*/ 0 w 218312"/>
                  <a:gd name="connsiteY2" fmla="*/ 109156 h 218312"/>
                  <a:gd name="connsiteX3" fmla="*/ 109156 w 218312"/>
                  <a:gd name="connsiteY3" fmla="*/ 0 h 218312"/>
                  <a:gd name="connsiteX4" fmla="*/ 218313 w 218312"/>
                  <a:gd name="connsiteY4" fmla="*/ 109156 h 2183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18312" h="218312">
                    <a:moveTo>
                      <a:pt x="218313" y="109156"/>
                    </a:moveTo>
                    <a:cubicBezTo>
                      <a:pt x="218313" y="169450"/>
                      <a:pt x="169450" y="218313"/>
                      <a:pt x="109156" y="218313"/>
                    </a:cubicBezTo>
                    <a:cubicBezTo>
                      <a:pt x="48863" y="218313"/>
                      <a:pt x="0" y="169450"/>
                      <a:pt x="0" y="109156"/>
                    </a:cubicBezTo>
                    <a:cubicBezTo>
                      <a:pt x="0" y="48863"/>
                      <a:pt x="48863" y="0"/>
                      <a:pt x="109156" y="0"/>
                    </a:cubicBezTo>
                    <a:cubicBezTo>
                      <a:pt x="169450" y="0"/>
                      <a:pt x="218313" y="48863"/>
                      <a:pt x="218313" y="109156"/>
                    </a:cubicBezTo>
                    <a:close/>
                  </a:path>
                </a:pathLst>
              </a:custGeom>
              <a:solidFill>
                <a:srgbClr val="F5898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42" name="ïsļídê">
                <a:extLst>
                  <a:ext uri="{FF2B5EF4-FFF2-40B4-BE49-F238E27FC236}">
                    <a16:creationId xmlns:a16="http://schemas.microsoft.com/office/drawing/2014/main" id="{B6ED5E38-5CB6-42B8-9ADF-9F4407780C6A}"/>
                  </a:ext>
                </a:extLst>
              </p:cNvPr>
              <p:cNvSpPr/>
              <p:nvPr/>
            </p:nvSpPr>
            <p:spPr>
              <a:xfrm>
                <a:off x="5575648" y="1618297"/>
                <a:ext cx="218313" cy="218312"/>
              </a:xfrm>
              <a:custGeom>
                <a:avLst/>
                <a:gdLst>
                  <a:gd name="connsiteX0" fmla="*/ 218313 w 218313"/>
                  <a:gd name="connsiteY0" fmla="*/ 109156 h 218312"/>
                  <a:gd name="connsiteX1" fmla="*/ 109156 w 218313"/>
                  <a:gd name="connsiteY1" fmla="*/ 218313 h 218312"/>
                  <a:gd name="connsiteX2" fmla="*/ 0 w 218313"/>
                  <a:gd name="connsiteY2" fmla="*/ 109156 h 218312"/>
                  <a:gd name="connsiteX3" fmla="*/ 109156 w 218313"/>
                  <a:gd name="connsiteY3" fmla="*/ 0 h 218312"/>
                  <a:gd name="connsiteX4" fmla="*/ 218313 w 218313"/>
                  <a:gd name="connsiteY4" fmla="*/ 109156 h 2183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18313" h="218312">
                    <a:moveTo>
                      <a:pt x="218313" y="109156"/>
                    </a:moveTo>
                    <a:cubicBezTo>
                      <a:pt x="218313" y="169450"/>
                      <a:pt x="169450" y="218313"/>
                      <a:pt x="109156" y="218313"/>
                    </a:cubicBezTo>
                    <a:cubicBezTo>
                      <a:pt x="48863" y="218313"/>
                      <a:pt x="0" y="169450"/>
                      <a:pt x="0" y="109156"/>
                    </a:cubicBezTo>
                    <a:cubicBezTo>
                      <a:pt x="0" y="48863"/>
                      <a:pt x="48863" y="0"/>
                      <a:pt x="109156" y="0"/>
                    </a:cubicBezTo>
                    <a:cubicBezTo>
                      <a:pt x="169450" y="0"/>
                      <a:pt x="218313" y="48863"/>
                      <a:pt x="218313" y="109156"/>
                    </a:cubicBezTo>
                    <a:close/>
                  </a:path>
                </a:pathLst>
              </a:custGeom>
              <a:solidFill>
                <a:srgbClr val="F5898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43" name="işļíďè">
                <a:extLst>
                  <a:ext uri="{FF2B5EF4-FFF2-40B4-BE49-F238E27FC236}">
                    <a16:creationId xmlns:a16="http://schemas.microsoft.com/office/drawing/2014/main" id="{DB7F7097-A7F8-46B6-A23C-445A9FDF0F09}"/>
                  </a:ext>
                </a:extLst>
              </p:cNvPr>
              <p:cNvSpPr/>
              <p:nvPr/>
            </p:nvSpPr>
            <p:spPr>
              <a:xfrm>
                <a:off x="5684805" y="2518219"/>
                <a:ext cx="1037082" cy="644366"/>
              </a:xfrm>
              <a:custGeom>
                <a:avLst/>
                <a:gdLst>
                  <a:gd name="connsiteX0" fmla="*/ 518541 w 1037082"/>
                  <a:gd name="connsiteY0" fmla="*/ 0 h 644366"/>
                  <a:gd name="connsiteX1" fmla="*/ 0 w 1037082"/>
                  <a:gd name="connsiteY1" fmla="*/ 495109 h 644366"/>
                  <a:gd name="connsiteX2" fmla="*/ 518541 w 1037082"/>
                  <a:gd name="connsiteY2" fmla="*/ 644366 h 644366"/>
                  <a:gd name="connsiteX3" fmla="*/ 1037082 w 1037082"/>
                  <a:gd name="connsiteY3" fmla="*/ 495109 h 644366"/>
                  <a:gd name="connsiteX4" fmla="*/ 518541 w 1037082"/>
                  <a:gd name="connsiteY4" fmla="*/ 0 h 6443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037082" h="644366">
                    <a:moveTo>
                      <a:pt x="518541" y="0"/>
                    </a:moveTo>
                    <a:cubicBezTo>
                      <a:pt x="239935" y="0"/>
                      <a:pt x="12573" y="219551"/>
                      <a:pt x="0" y="495109"/>
                    </a:cubicBezTo>
                    <a:cubicBezTo>
                      <a:pt x="150209" y="589693"/>
                      <a:pt x="327946" y="644366"/>
                      <a:pt x="518541" y="644366"/>
                    </a:cubicBezTo>
                    <a:cubicBezTo>
                      <a:pt x="709136" y="644366"/>
                      <a:pt x="886873" y="589597"/>
                      <a:pt x="1037082" y="495109"/>
                    </a:cubicBezTo>
                    <a:cubicBezTo>
                      <a:pt x="1024414" y="219551"/>
                      <a:pt x="797147" y="0"/>
                      <a:pt x="518541" y="0"/>
                    </a:cubicBezTo>
                    <a:close/>
                  </a:path>
                </a:pathLst>
              </a:custGeom>
              <a:solidFill>
                <a:srgbClr val="D19163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44" name="iṣ1iḑe">
                <a:extLst>
                  <a:ext uri="{FF2B5EF4-FFF2-40B4-BE49-F238E27FC236}">
                    <a16:creationId xmlns:a16="http://schemas.microsoft.com/office/drawing/2014/main" id="{8BC64643-302B-4C12-A970-542F3E8FC44B}"/>
                  </a:ext>
                </a:extLst>
              </p:cNvPr>
              <p:cNvSpPr/>
              <p:nvPr/>
            </p:nvSpPr>
            <p:spPr>
              <a:xfrm>
                <a:off x="6225348" y="1610201"/>
                <a:ext cx="51054" cy="51054"/>
              </a:xfrm>
              <a:custGeom>
                <a:avLst/>
                <a:gdLst>
                  <a:gd name="connsiteX0" fmla="*/ 51054 w 51054"/>
                  <a:gd name="connsiteY0" fmla="*/ 25527 h 51054"/>
                  <a:gd name="connsiteX1" fmla="*/ 25527 w 51054"/>
                  <a:gd name="connsiteY1" fmla="*/ 51054 h 51054"/>
                  <a:gd name="connsiteX2" fmla="*/ 0 w 51054"/>
                  <a:gd name="connsiteY2" fmla="*/ 25527 h 51054"/>
                  <a:gd name="connsiteX3" fmla="*/ 25527 w 51054"/>
                  <a:gd name="connsiteY3" fmla="*/ 0 h 51054"/>
                  <a:gd name="connsiteX4" fmla="*/ 51054 w 51054"/>
                  <a:gd name="connsiteY4" fmla="*/ 25527 h 510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1054" h="51054">
                    <a:moveTo>
                      <a:pt x="51054" y="25527"/>
                    </a:moveTo>
                    <a:cubicBezTo>
                      <a:pt x="51054" y="39624"/>
                      <a:pt x="39624" y="51054"/>
                      <a:pt x="25527" y="51054"/>
                    </a:cubicBezTo>
                    <a:cubicBezTo>
                      <a:pt x="11430" y="51054"/>
                      <a:pt x="0" y="39624"/>
                      <a:pt x="0" y="25527"/>
                    </a:cubicBezTo>
                    <a:cubicBezTo>
                      <a:pt x="0" y="11430"/>
                      <a:pt x="11430" y="0"/>
                      <a:pt x="25527" y="0"/>
                    </a:cubicBezTo>
                    <a:cubicBezTo>
                      <a:pt x="39624" y="0"/>
                      <a:pt x="51054" y="11430"/>
                      <a:pt x="51054" y="25527"/>
                    </a:cubicBezTo>
                    <a:close/>
                  </a:path>
                </a:pathLst>
              </a:custGeom>
              <a:solidFill>
                <a:srgbClr val="F2EED7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45" name="íṣḻîḓe">
                <a:extLst>
                  <a:ext uri="{FF2B5EF4-FFF2-40B4-BE49-F238E27FC236}">
                    <a16:creationId xmlns:a16="http://schemas.microsoft.com/office/drawing/2014/main" id="{AB8DECA2-07F2-42E9-96DE-EFED4F98F909}"/>
                  </a:ext>
                </a:extLst>
              </p:cNvPr>
              <p:cNvSpPr/>
              <p:nvPr/>
            </p:nvSpPr>
            <p:spPr>
              <a:xfrm>
                <a:off x="5965182" y="1610201"/>
                <a:ext cx="421329" cy="166577"/>
              </a:xfrm>
              <a:custGeom>
                <a:avLst/>
                <a:gdLst>
                  <a:gd name="connsiteX0" fmla="*/ 421329 w 421329"/>
                  <a:gd name="connsiteY0" fmla="*/ 92678 h 166577"/>
                  <a:gd name="connsiteX1" fmla="*/ 47949 w 421329"/>
                  <a:gd name="connsiteY1" fmla="*/ 0 h 166577"/>
                  <a:gd name="connsiteX2" fmla="*/ 2325 w 421329"/>
                  <a:gd name="connsiteY2" fmla="*/ 85915 h 166577"/>
                  <a:gd name="connsiteX3" fmla="*/ 421329 w 421329"/>
                  <a:gd name="connsiteY3" fmla="*/ 92678 h 1665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21329" h="166577">
                    <a:moveTo>
                      <a:pt x="421329" y="92678"/>
                    </a:moveTo>
                    <a:cubicBezTo>
                      <a:pt x="421329" y="92678"/>
                      <a:pt x="174251" y="202787"/>
                      <a:pt x="47949" y="0"/>
                    </a:cubicBezTo>
                    <a:cubicBezTo>
                      <a:pt x="47949" y="0"/>
                      <a:pt x="-12439" y="41624"/>
                      <a:pt x="2325" y="85915"/>
                    </a:cubicBezTo>
                    <a:cubicBezTo>
                      <a:pt x="17088" y="130302"/>
                      <a:pt x="270930" y="239077"/>
                      <a:pt x="421329" y="92678"/>
                    </a:cubicBezTo>
                    <a:close/>
                  </a:path>
                </a:pathLst>
              </a:custGeom>
              <a:solidFill>
                <a:srgbClr val="B53A3C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46" name="işľïḋê">
                <a:extLst>
                  <a:ext uri="{FF2B5EF4-FFF2-40B4-BE49-F238E27FC236}">
                    <a16:creationId xmlns:a16="http://schemas.microsoft.com/office/drawing/2014/main" id="{DD4D9808-803B-4FCF-A5FA-CB683ED83AC7}"/>
                  </a:ext>
                </a:extLst>
              </p:cNvPr>
              <p:cNvSpPr/>
              <p:nvPr/>
            </p:nvSpPr>
            <p:spPr>
              <a:xfrm>
                <a:off x="5138355" y="1690020"/>
                <a:ext cx="162687" cy="162687"/>
              </a:xfrm>
              <a:custGeom>
                <a:avLst/>
                <a:gdLst>
                  <a:gd name="connsiteX0" fmla="*/ 162687 w 162687"/>
                  <a:gd name="connsiteY0" fmla="*/ 81344 h 162687"/>
                  <a:gd name="connsiteX1" fmla="*/ 81344 w 162687"/>
                  <a:gd name="connsiteY1" fmla="*/ 162687 h 162687"/>
                  <a:gd name="connsiteX2" fmla="*/ 0 w 162687"/>
                  <a:gd name="connsiteY2" fmla="*/ 81344 h 162687"/>
                  <a:gd name="connsiteX3" fmla="*/ 81344 w 162687"/>
                  <a:gd name="connsiteY3" fmla="*/ 0 h 162687"/>
                  <a:gd name="connsiteX4" fmla="*/ 162687 w 162687"/>
                  <a:gd name="connsiteY4" fmla="*/ 81344 h 1626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2687" h="162687">
                    <a:moveTo>
                      <a:pt x="162687" y="81344"/>
                    </a:moveTo>
                    <a:cubicBezTo>
                      <a:pt x="162687" y="126302"/>
                      <a:pt x="126302" y="162687"/>
                      <a:pt x="81344" y="162687"/>
                    </a:cubicBezTo>
                    <a:cubicBezTo>
                      <a:pt x="36386" y="162687"/>
                      <a:pt x="0" y="126302"/>
                      <a:pt x="0" y="81344"/>
                    </a:cubicBezTo>
                    <a:cubicBezTo>
                      <a:pt x="0" y="36386"/>
                      <a:pt x="36481" y="0"/>
                      <a:pt x="81344" y="0"/>
                    </a:cubicBezTo>
                    <a:cubicBezTo>
                      <a:pt x="126206" y="-95"/>
                      <a:pt x="162687" y="36386"/>
                      <a:pt x="162687" y="81344"/>
                    </a:cubicBezTo>
                    <a:close/>
                  </a:path>
                </a:pathLst>
              </a:custGeom>
              <a:solidFill>
                <a:srgbClr val="F5898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47" name="îṥḻïḑè">
                <a:extLst>
                  <a:ext uri="{FF2B5EF4-FFF2-40B4-BE49-F238E27FC236}">
                    <a16:creationId xmlns:a16="http://schemas.microsoft.com/office/drawing/2014/main" id="{63DE0920-0B27-4EFF-8522-233B69A70923}"/>
                  </a:ext>
                </a:extLst>
              </p:cNvPr>
              <p:cNvSpPr/>
              <p:nvPr/>
            </p:nvSpPr>
            <p:spPr>
              <a:xfrm>
                <a:off x="7038403" y="1600200"/>
                <a:ext cx="298513" cy="298513"/>
              </a:xfrm>
              <a:custGeom>
                <a:avLst/>
                <a:gdLst>
                  <a:gd name="connsiteX0" fmla="*/ 0 w 298513"/>
                  <a:gd name="connsiteY0" fmla="*/ 149257 h 298513"/>
                  <a:gd name="connsiteX1" fmla="*/ 149257 w 298513"/>
                  <a:gd name="connsiteY1" fmla="*/ 298513 h 298513"/>
                  <a:gd name="connsiteX2" fmla="*/ 298513 w 298513"/>
                  <a:gd name="connsiteY2" fmla="*/ 149257 h 298513"/>
                  <a:gd name="connsiteX3" fmla="*/ 149257 w 298513"/>
                  <a:gd name="connsiteY3" fmla="*/ 0 h 298513"/>
                  <a:gd name="connsiteX4" fmla="*/ 0 w 298513"/>
                  <a:gd name="connsiteY4" fmla="*/ 149257 h 2985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98513" h="298513">
                    <a:moveTo>
                      <a:pt x="0" y="149257"/>
                    </a:moveTo>
                    <a:cubicBezTo>
                      <a:pt x="0" y="231648"/>
                      <a:pt x="66865" y="298513"/>
                      <a:pt x="149257" y="298513"/>
                    </a:cubicBezTo>
                    <a:cubicBezTo>
                      <a:pt x="231648" y="298513"/>
                      <a:pt x="298513" y="231648"/>
                      <a:pt x="298513" y="149257"/>
                    </a:cubicBezTo>
                    <a:cubicBezTo>
                      <a:pt x="298513" y="66865"/>
                      <a:pt x="231648" y="0"/>
                      <a:pt x="149257" y="0"/>
                    </a:cubicBezTo>
                    <a:cubicBezTo>
                      <a:pt x="66770" y="0"/>
                      <a:pt x="0" y="66865"/>
                      <a:pt x="0" y="149257"/>
                    </a:cubicBezTo>
                    <a:close/>
                  </a:path>
                </a:pathLst>
              </a:custGeom>
              <a:solidFill>
                <a:srgbClr val="AA5535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48" name="íṧlïdé">
                <a:extLst>
                  <a:ext uri="{FF2B5EF4-FFF2-40B4-BE49-F238E27FC236}">
                    <a16:creationId xmlns:a16="http://schemas.microsoft.com/office/drawing/2014/main" id="{6D089B95-1FF7-4190-A9D8-0353809A759A}"/>
                  </a:ext>
                </a:extLst>
              </p:cNvPr>
              <p:cNvSpPr/>
              <p:nvPr/>
            </p:nvSpPr>
            <p:spPr>
              <a:xfrm>
                <a:off x="7081455" y="1690020"/>
                <a:ext cx="162687" cy="162687"/>
              </a:xfrm>
              <a:custGeom>
                <a:avLst/>
                <a:gdLst>
                  <a:gd name="connsiteX0" fmla="*/ 0 w 162687"/>
                  <a:gd name="connsiteY0" fmla="*/ 81344 h 162687"/>
                  <a:gd name="connsiteX1" fmla="*/ 81344 w 162687"/>
                  <a:gd name="connsiteY1" fmla="*/ 162687 h 162687"/>
                  <a:gd name="connsiteX2" fmla="*/ 162687 w 162687"/>
                  <a:gd name="connsiteY2" fmla="*/ 81344 h 162687"/>
                  <a:gd name="connsiteX3" fmla="*/ 81344 w 162687"/>
                  <a:gd name="connsiteY3" fmla="*/ 0 h 162687"/>
                  <a:gd name="connsiteX4" fmla="*/ 0 w 162687"/>
                  <a:gd name="connsiteY4" fmla="*/ 81344 h 1626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2687" h="162687">
                    <a:moveTo>
                      <a:pt x="0" y="81344"/>
                    </a:moveTo>
                    <a:cubicBezTo>
                      <a:pt x="0" y="126302"/>
                      <a:pt x="36386" y="162687"/>
                      <a:pt x="81344" y="162687"/>
                    </a:cubicBezTo>
                    <a:cubicBezTo>
                      <a:pt x="126302" y="162687"/>
                      <a:pt x="162687" y="126302"/>
                      <a:pt x="162687" y="81344"/>
                    </a:cubicBezTo>
                    <a:cubicBezTo>
                      <a:pt x="162687" y="36386"/>
                      <a:pt x="126206" y="0"/>
                      <a:pt x="81344" y="0"/>
                    </a:cubicBezTo>
                    <a:cubicBezTo>
                      <a:pt x="36386" y="-95"/>
                      <a:pt x="0" y="36386"/>
                      <a:pt x="0" y="81344"/>
                    </a:cubicBezTo>
                    <a:close/>
                  </a:path>
                </a:pathLst>
              </a:custGeom>
              <a:solidFill>
                <a:srgbClr val="F5898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grpSp>
            <p:nvGrpSpPr>
              <p:cNvPr id="49" name="ísḻïḋe">
                <a:extLst>
                  <a:ext uri="{FF2B5EF4-FFF2-40B4-BE49-F238E27FC236}">
                    <a16:creationId xmlns:a16="http://schemas.microsoft.com/office/drawing/2014/main" id="{0A6AB506-8448-40AA-BB53-EECD8469FDC4}"/>
                  </a:ext>
                </a:extLst>
              </p:cNvPr>
              <p:cNvGrpSpPr/>
              <p:nvPr/>
            </p:nvGrpSpPr>
            <p:grpSpPr>
              <a:xfrm>
                <a:off x="6359842" y="1270635"/>
                <a:ext cx="753468" cy="1174813"/>
                <a:chOff x="6359842" y="1270635"/>
                <a:chExt cx="753468" cy="1174813"/>
              </a:xfrm>
              <a:solidFill>
                <a:srgbClr val="F2EED7">
                  <a:alpha val="50000"/>
                </a:srgbClr>
              </a:solidFill>
            </p:grpSpPr>
            <p:sp>
              <p:nvSpPr>
                <p:cNvPr id="64" name="ïşlïdè">
                  <a:extLst>
                    <a:ext uri="{FF2B5EF4-FFF2-40B4-BE49-F238E27FC236}">
                      <a16:creationId xmlns:a16="http://schemas.microsoft.com/office/drawing/2014/main" id="{6DDFAC98-DA15-4B35-8098-BF7DCE7AB51A}"/>
                    </a:ext>
                  </a:extLst>
                </p:cNvPr>
                <p:cNvSpPr/>
                <p:nvPr/>
              </p:nvSpPr>
              <p:spPr>
                <a:xfrm>
                  <a:off x="6498243" y="1318168"/>
                  <a:ext cx="615066" cy="1127280"/>
                </a:xfrm>
                <a:custGeom>
                  <a:avLst/>
                  <a:gdLst>
                    <a:gd name="connsiteX0" fmla="*/ 521205 w 615066"/>
                    <a:gd name="connsiteY0" fmla="*/ 1127280 h 1127280"/>
                    <a:gd name="connsiteX1" fmla="*/ 506346 w 615066"/>
                    <a:gd name="connsiteY1" fmla="*/ 1124613 h 1127280"/>
                    <a:gd name="connsiteX2" fmla="*/ 481009 w 615066"/>
                    <a:gd name="connsiteY2" fmla="*/ 1069559 h 1127280"/>
                    <a:gd name="connsiteX3" fmla="*/ 458816 w 615066"/>
                    <a:gd name="connsiteY3" fmla="*/ 482438 h 1127280"/>
                    <a:gd name="connsiteX4" fmla="*/ 28000 w 615066"/>
                    <a:gd name="connsiteY4" fmla="*/ 83055 h 1127280"/>
                    <a:gd name="connsiteX5" fmla="*/ 2664 w 615066"/>
                    <a:gd name="connsiteY5" fmla="*/ 28000 h 1127280"/>
                    <a:gd name="connsiteX6" fmla="*/ 57718 w 615066"/>
                    <a:gd name="connsiteY6" fmla="*/ 2663 h 1127280"/>
                    <a:gd name="connsiteX7" fmla="*/ 536730 w 615066"/>
                    <a:gd name="connsiteY7" fmla="*/ 446719 h 1127280"/>
                    <a:gd name="connsiteX8" fmla="*/ 561400 w 615066"/>
                    <a:gd name="connsiteY8" fmla="*/ 1099372 h 1127280"/>
                    <a:gd name="connsiteX9" fmla="*/ 521205 w 615066"/>
                    <a:gd name="connsiteY9" fmla="*/ 1127280 h 11272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615066" h="1127280">
                      <a:moveTo>
                        <a:pt x="521205" y="1127280"/>
                      </a:moveTo>
                      <a:cubicBezTo>
                        <a:pt x="516251" y="1127280"/>
                        <a:pt x="511203" y="1126423"/>
                        <a:pt x="506346" y="1124613"/>
                      </a:cubicBezTo>
                      <a:cubicBezTo>
                        <a:pt x="484152" y="1116422"/>
                        <a:pt x="472817" y="1091752"/>
                        <a:pt x="481009" y="1069559"/>
                      </a:cubicBezTo>
                      <a:cubicBezTo>
                        <a:pt x="552256" y="877249"/>
                        <a:pt x="544350" y="668747"/>
                        <a:pt x="458816" y="482438"/>
                      </a:cubicBezTo>
                      <a:cubicBezTo>
                        <a:pt x="373281" y="296129"/>
                        <a:pt x="220215" y="154206"/>
                        <a:pt x="28000" y="83055"/>
                      </a:cubicBezTo>
                      <a:cubicBezTo>
                        <a:pt x="5807" y="74863"/>
                        <a:pt x="-5528" y="50193"/>
                        <a:pt x="2664" y="28000"/>
                      </a:cubicBezTo>
                      <a:cubicBezTo>
                        <a:pt x="10855" y="5807"/>
                        <a:pt x="35525" y="-5528"/>
                        <a:pt x="57718" y="2663"/>
                      </a:cubicBezTo>
                      <a:cubicBezTo>
                        <a:pt x="271459" y="81816"/>
                        <a:pt x="441575" y="239550"/>
                        <a:pt x="536730" y="446719"/>
                      </a:cubicBezTo>
                      <a:cubicBezTo>
                        <a:pt x="631885" y="653888"/>
                        <a:pt x="640648" y="885631"/>
                        <a:pt x="561400" y="1099372"/>
                      </a:cubicBezTo>
                      <a:cubicBezTo>
                        <a:pt x="555018" y="1116612"/>
                        <a:pt x="538635" y="1127280"/>
                        <a:pt x="521205" y="1127280"/>
                      </a:cubicBezTo>
                      <a:close/>
                    </a:path>
                  </a:pathLst>
                </a:custGeom>
                <a:solidFill>
                  <a:srgbClr val="F2EED7">
                    <a:alpha val="50000"/>
                  </a:srgbClr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65" name="islíḋe">
                  <a:extLst>
                    <a:ext uri="{FF2B5EF4-FFF2-40B4-BE49-F238E27FC236}">
                      <a16:creationId xmlns:a16="http://schemas.microsoft.com/office/drawing/2014/main" id="{FF5C4174-B118-4583-A714-8F430549C80F}"/>
                    </a:ext>
                  </a:extLst>
                </p:cNvPr>
                <p:cNvSpPr/>
                <p:nvPr/>
              </p:nvSpPr>
              <p:spPr>
                <a:xfrm>
                  <a:off x="6359842" y="1270635"/>
                  <a:ext cx="99821" cy="99821"/>
                </a:xfrm>
                <a:custGeom>
                  <a:avLst/>
                  <a:gdLst>
                    <a:gd name="connsiteX0" fmla="*/ 99822 w 99821"/>
                    <a:gd name="connsiteY0" fmla="*/ 49911 h 99821"/>
                    <a:gd name="connsiteX1" fmla="*/ 49911 w 99821"/>
                    <a:gd name="connsiteY1" fmla="*/ 99822 h 99821"/>
                    <a:gd name="connsiteX2" fmla="*/ 0 w 99821"/>
                    <a:gd name="connsiteY2" fmla="*/ 49911 h 99821"/>
                    <a:gd name="connsiteX3" fmla="*/ 49911 w 99821"/>
                    <a:gd name="connsiteY3" fmla="*/ 0 h 99821"/>
                    <a:gd name="connsiteX4" fmla="*/ 99822 w 99821"/>
                    <a:gd name="connsiteY4" fmla="*/ 49911 h 9982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99821" h="99821">
                      <a:moveTo>
                        <a:pt x="99822" y="49911"/>
                      </a:moveTo>
                      <a:cubicBezTo>
                        <a:pt x="99822" y="77438"/>
                        <a:pt x="77438" y="99822"/>
                        <a:pt x="49911" y="99822"/>
                      </a:cubicBezTo>
                      <a:cubicBezTo>
                        <a:pt x="22384" y="99822"/>
                        <a:pt x="0" y="77438"/>
                        <a:pt x="0" y="49911"/>
                      </a:cubicBezTo>
                      <a:cubicBezTo>
                        <a:pt x="0" y="22384"/>
                        <a:pt x="22384" y="0"/>
                        <a:pt x="49911" y="0"/>
                      </a:cubicBezTo>
                      <a:cubicBezTo>
                        <a:pt x="77438" y="0"/>
                        <a:pt x="99822" y="22384"/>
                        <a:pt x="99822" y="49911"/>
                      </a:cubicBezTo>
                      <a:close/>
                    </a:path>
                  </a:pathLst>
                </a:custGeom>
                <a:solidFill>
                  <a:srgbClr val="F2EED7">
                    <a:alpha val="50000"/>
                  </a:srgbClr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sp>
            <p:nvSpPr>
              <p:cNvPr id="50" name="í$ḷïḑè">
                <a:extLst>
                  <a:ext uri="{FF2B5EF4-FFF2-40B4-BE49-F238E27FC236}">
                    <a16:creationId xmlns:a16="http://schemas.microsoft.com/office/drawing/2014/main" id="{34CAA0EB-27F8-4441-B5BF-D6C37F7E5757}"/>
                  </a:ext>
                </a:extLst>
              </p:cNvPr>
              <p:cNvSpPr/>
              <p:nvPr/>
            </p:nvSpPr>
            <p:spPr>
              <a:xfrm>
                <a:off x="5214365" y="2067687"/>
                <a:ext cx="1977770" cy="398049"/>
              </a:xfrm>
              <a:custGeom>
                <a:avLst/>
                <a:gdLst>
                  <a:gd name="connsiteX0" fmla="*/ 1976533 w 1977770"/>
                  <a:gd name="connsiteY0" fmla="*/ 0 h 398049"/>
                  <a:gd name="connsiteX1" fmla="*/ 1238 w 1977770"/>
                  <a:gd name="connsiteY1" fmla="*/ 0 h 398049"/>
                  <a:gd name="connsiteX2" fmla="*/ 0 w 1977770"/>
                  <a:gd name="connsiteY2" fmla="*/ 48577 h 398049"/>
                  <a:gd name="connsiteX3" fmla="*/ 65532 w 1977770"/>
                  <a:gd name="connsiteY3" fmla="*/ 398050 h 398049"/>
                  <a:gd name="connsiteX4" fmla="*/ 1912239 w 1977770"/>
                  <a:gd name="connsiteY4" fmla="*/ 398050 h 398049"/>
                  <a:gd name="connsiteX5" fmla="*/ 1977771 w 1977770"/>
                  <a:gd name="connsiteY5" fmla="*/ 48577 h 398049"/>
                  <a:gd name="connsiteX6" fmla="*/ 1976533 w 1977770"/>
                  <a:gd name="connsiteY6" fmla="*/ 0 h 3980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977770" h="398049">
                    <a:moveTo>
                      <a:pt x="1976533" y="0"/>
                    </a:moveTo>
                    <a:lnTo>
                      <a:pt x="1238" y="0"/>
                    </a:lnTo>
                    <a:cubicBezTo>
                      <a:pt x="476" y="16097"/>
                      <a:pt x="0" y="32290"/>
                      <a:pt x="0" y="48577"/>
                    </a:cubicBezTo>
                    <a:cubicBezTo>
                      <a:pt x="0" y="171736"/>
                      <a:pt x="23241" y="289560"/>
                      <a:pt x="65532" y="398050"/>
                    </a:cubicBezTo>
                    <a:lnTo>
                      <a:pt x="1912239" y="398050"/>
                    </a:lnTo>
                    <a:cubicBezTo>
                      <a:pt x="1954530" y="289560"/>
                      <a:pt x="1977771" y="171736"/>
                      <a:pt x="1977771" y="48577"/>
                    </a:cubicBezTo>
                    <a:cubicBezTo>
                      <a:pt x="1977676" y="32290"/>
                      <a:pt x="1977295" y="16097"/>
                      <a:pt x="1976533" y="0"/>
                    </a:cubicBezTo>
                    <a:close/>
                  </a:path>
                </a:pathLst>
              </a:custGeom>
              <a:solidFill>
                <a:srgbClr val="88A54A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1" name="íśḻîḓê">
                <a:extLst>
                  <a:ext uri="{FF2B5EF4-FFF2-40B4-BE49-F238E27FC236}">
                    <a16:creationId xmlns:a16="http://schemas.microsoft.com/office/drawing/2014/main" id="{1448E076-5F16-49B2-BF40-2CF1AE429BE7}"/>
                  </a:ext>
                </a:extLst>
              </p:cNvPr>
              <p:cNvSpPr/>
              <p:nvPr/>
            </p:nvSpPr>
            <p:spPr>
              <a:xfrm>
                <a:off x="6121050" y="2000916"/>
                <a:ext cx="549783" cy="919924"/>
              </a:xfrm>
              <a:custGeom>
                <a:avLst/>
                <a:gdLst>
                  <a:gd name="connsiteX0" fmla="*/ 549783 w 549783"/>
                  <a:gd name="connsiteY0" fmla="*/ 807720 h 919924"/>
                  <a:gd name="connsiteX1" fmla="*/ 361664 w 549783"/>
                  <a:gd name="connsiteY1" fmla="*/ 132778 h 919924"/>
                  <a:gd name="connsiteX2" fmla="*/ 331565 w 549783"/>
                  <a:gd name="connsiteY2" fmla="*/ 0 h 919924"/>
                  <a:gd name="connsiteX3" fmla="*/ 0 w 549783"/>
                  <a:gd name="connsiteY3" fmla="*/ 41434 h 919924"/>
                  <a:gd name="connsiteX4" fmla="*/ 118586 w 549783"/>
                  <a:gd name="connsiteY4" fmla="*/ 919924 h 9199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49783" h="919924">
                    <a:moveTo>
                      <a:pt x="549783" y="807720"/>
                    </a:moveTo>
                    <a:lnTo>
                      <a:pt x="361664" y="132778"/>
                    </a:lnTo>
                    <a:lnTo>
                      <a:pt x="331565" y="0"/>
                    </a:lnTo>
                    <a:lnTo>
                      <a:pt x="0" y="41434"/>
                    </a:lnTo>
                    <a:lnTo>
                      <a:pt x="118586" y="919924"/>
                    </a:lnTo>
                    <a:close/>
                  </a:path>
                </a:pathLst>
              </a:custGeom>
              <a:solidFill>
                <a:srgbClr val="88A54A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2" name="ïṥľíḋé">
                <a:extLst>
                  <a:ext uri="{FF2B5EF4-FFF2-40B4-BE49-F238E27FC236}">
                    <a16:creationId xmlns:a16="http://schemas.microsoft.com/office/drawing/2014/main" id="{48DB4BB9-BBDD-4374-98BD-5D516B70AB9E}"/>
                  </a:ext>
                </a:extLst>
              </p:cNvPr>
              <p:cNvSpPr/>
              <p:nvPr/>
            </p:nvSpPr>
            <p:spPr>
              <a:xfrm>
                <a:off x="6109810" y="2404967"/>
                <a:ext cx="475773" cy="140493"/>
              </a:xfrm>
              <a:custGeom>
                <a:avLst/>
                <a:gdLst>
                  <a:gd name="connsiteX0" fmla="*/ 0 w 475773"/>
                  <a:gd name="connsiteY0" fmla="*/ 140494 h 140493"/>
                  <a:gd name="connsiteX1" fmla="*/ 475774 w 475773"/>
                  <a:gd name="connsiteY1" fmla="*/ 0 h 1404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5773" h="140493">
                    <a:moveTo>
                      <a:pt x="0" y="140494"/>
                    </a:moveTo>
                    <a:lnTo>
                      <a:pt x="475774" y="0"/>
                    </a:lnTo>
                  </a:path>
                </a:pathLst>
              </a:custGeom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3" name="í$ḷide">
                <a:extLst>
                  <a:ext uri="{FF2B5EF4-FFF2-40B4-BE49-F238E27FC236}">
                    <a16:creationId xmlns:a16="http://schemas.microsoft.com/office/drawing/2014/main" id="{F48D7B00-2E52-4EE0-9627-0AF52BFFC76F}"/>
                  </a:ext>
                </a:extLst>
              </p:cNvPr>
              <p:cNvSpPr/>
              <p:nvPr/>
            </p:nvSpPr>
            <p:spPr>
              <a:xfrm>
                <a:off x="6175438" y="2581179"/>
                <a:ext cx="546925" cy="209550"/>
              </a:xfrm>
              <a:custGeom>
                <a:avLst/>
                <a:gdLst>
                  <a:gd name="connsiteX0" fmla="*/ 0 w 546925"/>
                  <a:gd name="connsiteY0" fmla="*/ 209550 h 209550"/>
                  <a:gd name="connsiteX1" fmla="*/ 546926 w 546925"/>
                  <a:gd name="connsiteY1" fmla="*/ 0 h 2095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46925" h="209550">
                    <a:moveTo>
                      <a:pt x="0" y="209550"/>
                    </a:moveTo>
                    <a:lnTo>
                      <a:pt x="546926" y="0"/>
                    </a:lnTo>
                  </a:path>
                </a:pathLst>
              </a:custGeom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4" name="îšļîḓè">
                <a:extLst>
                  <a:ext uri="{FF2B5EF4-FFF2-40B4-BE49-F238E27FC236}">
                    <a16:creationId xmlns:a16="http://schemas.microsoft.com/office/drawing/2014/main" id="{A7E012AA-273F-4E8B-B0E1-894B4E4C2B33}"/>
                  </a:ext>
                </a:extLst>
              </p:cNvPr>
              <p:cNvSpPr/>
              <p:nvPr/>
            </p:nvSpPr>
            <p:spPr>
              <a:xfrm>
                <a:off x="6182486" y="2404967"/>
                <a:ext cx="439578" cy="368808"/>
              </a:xfrm>
              <a:custGeom>
                <a:avLst/>
                <a:gdLst>
                  <a:gd name="connsiteX0" fmla="*/ 375857 w 439578"/>
                  <a:gd name="connsiteY0" fmla="*/ 0 h 368808"/>
                  <a:gd name="connsiteX1" fmla="*/ 0 w 439578"/>
                  <a:gd name="connsiteY1" fmla="*/ 118015 h 368808"/>
                  <a:gd name="connsiteX2" fmla="*/ 33814 w 439578"/>
                  <a:gd name="connsiteY2" fmla="*/ 368808 h 368808"/>
                  <a:gd name="connsiteX3" fmla="*/ 439579 w 439578"/>
                  <a:gd name="connsiteY3" fmla="*/ 228600 h 3688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39578" h="368808">
                    <a:moveTo>
                      <a:pt x="375857" y="0"/>
                    </a:moveTo>
                    <a:lnTo>
                      <a:pt x="0" y="118015"/>
                    </a:lnTo>
                    <a:lnTo>
                      <a:pt x="33814" y="368808"/>
                    </a:lnTo>
                    <a:lnTo>
                      <a:pt x="439579" y="228600"/>
                    </a:lnTo>
                    <a:close/>
                  </a:path>
                </a:pathLst>
              </a:custGeom>
              <a:solidFill>
                <a:srgbClr val="637B36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5" name="işľïḍê">
                <a:extLst>
                  <a:ext uri="{FF2B5EF4-FFF2-40B4-BE49-F238E27FC236}">
                    <a16:creationId xmlns:a16="http://schemas.microsoft.com/office/drawing/2014/main" id="{8D77271D-3B09-4EDE-B3DB-7ED0CFEFEB9E}"/>
                  </a:ext>
                </a:extLst>
              </p:cNvPr>
              <p:cNvSpPr/>
              <p:nvPr/>
            </p:nvSpPr>
            <p:spPr>
              <a:xfrm>
                <a:off x="5550312" y="2027777"/>
                <a:ext cx="573405" cy="894873"/>
              </a:xfrm>
              <a:custGeom>
                <a:avLst/>
                <a:gdLst>
                  <a:gd name="connsiteX0" fmla="*/ 205359 w 573405"/>
                  <a:gd name="connsiteY0" fmla="*/ 0 h 894873"/>
                  <a:gd name="connsiteX1" fmla="*/ 573405 w 573405"/>
                  <a:gd name="connsiteY1" fmla="*/ 20003 h 894873"/>
                  <a:gd name="connsiteX2" fmla="*/ 460248 w 573405"/>
                  <a:gd name="connsiteY2" fmla="*/ 894874 h 894873"/>
                  <a:gd name="connsiteX3" fmla="*/ 0 w 573405"/>
                  <a:gd name="connsiteY3" fmla="*/ 799814 h 8948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73405" h="894873">
                    <a:moveTo>
                      <a:pt x="205359" y="0"/>
                    </a:moveTo>
                    <a:lnTo>
                      <a:pt x="573405" y="20003"/>
                    </a:lnTo>
                    <a:lnTo>
                      <a:pt x="460248" y="894874"/>
                    </a:lnTo>
                    <a:lnTo>
                      <a:pt x="0" y="799814"/>
                    </a:lnTo>
                    <a:close/>
                  </a:path>
                </a:pathLst>
              </a:custGeom>
              <a:solidFill>
                <a:srgbClr val="88A54A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6" name="ïṣļîḍê">
                <a:extLst>
                  <a:ext uri="{FF2B5EF4-FFF2-40B4-BE49-F238E27FC236}">
                    <a16:creationId xmlns:a16="http://schemas.microsoft.com/office/drawing/2014/main" id="{A8CCC31D-653D-49CF-8396-EA7F81C738E7}"/>
                  </a:ext>
                </a:extLst>
              </p:cNvPr>
              <p:cNvSpPr/>
              <p:nvPr/>
            </p:nvSpPr>
            <p:spPr>
              <a:xfrm>
                <a:off x="6071044" y="2047779"/>
                <a:ext cx="104393" cy="417956"/>
              </a:xfrm>
              <a:custGeom>
                <a:avLst/>
                <a:gdLst>
                  <a:gd name="connsiteX0" fmla="*/ 104394 w 104393"/>
                  <a:gd name="connsiteY0" fmla="*/ 417957 h 417956"/>
                  <a:gd name="connsiteX1" fmla="*/ 52673 w 104393"/>
                  <a:gd name="connsiteY1" fmla="*/ 0 h 417956"/>
                  <a:gd name="connsiteX2" fmla="*/ 0 w 104393"/>
                  <a:gd name="connsiteY2" fmla="*/ 417957 h 4179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04393" h="417956">
                    <a:moveTo>
                      <a:pt x="104394" y="417957"/>
                    </a:moveTo>
                    <a:lnTo>
                      <a:pt x="52673" y="0"/>
                    </a:lnTo>
                    <a:lnTo>
                      <a:pt x="0" y="417957"/>
                    </a:lnTo>
                    <a:close/>
                  </a:path>
                </a:pathLst>
              </a:custGeom>
              <a:solidFill>
                <a:srgbClr val="637B36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8" name="iślídé">
                <a:extLst>
                  <a:ext uri="{FF2B5EF4-FFF2-40B4-BE49-F238E27FC236}">
                    <a16:creationId xmlns:a16="http://schemas.microsoft.com/office/drawing/2014/main" id="{2EB91BB1-95DD-40BF-8DC6-8BBC4A54CC18}"/>
                  </a:ext>
                </a:extLst>
              </p:cNvPr>
              <p:cNvSpPr/>
              <p:nvPr/>
            </p:nvSpPr>
            <p:spPr>
              <a:xfrm>
                <a:off x="5652134" y="2162651"/>
                <a:ext cx="457676" cy="347186"/>
              </a:xfrm>
              <a:custGeom>
                <a:avLst/>
                <a:gdLst>
                  <a:gd name="connsiteX0" fmla="*/ 457676 w 457676"/>
                  <a:gd name="connsiteY0" fmla="*/ 63532 h 347186"/>
                  <a:gd name="connsiteX1" fmla="*/ 68866 w 457676"/>
                  <a:gd name="connsiteY1" fmla="*/ 0 h 347186"/>
                  <a:gd name="connsiteX2" fmla="*/ 0 w 457676"/>
                  <a:gd name="connsiteY2" fmla="*/ 268414 h 347186"/>
                  <a:gd name="connsiteX3" fmla="*/ 411861 w 457676"/>
                  <a:gd name="connsiteY3" fmla="*/ 347186 h 3471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57676" h="347186">
                    <a:moveTo>
                      <a:pt x="457676" y="63532"/>
                    </a:moveTo>
                    <a:lnTo>
                      <a:pt x="68866" y="0"/>
                    </a:lnTo>
                    <a:lnTo>
                      <a:pt x="0" y="268414"/>
                    </a:lnTo>
                    <a:lnTo>
                      <a:pt x="411861" y="347186"/>
                    </a:lnTo>
                    <a:close/>
                  </a:path>
                </a:pathLst>
              </a:custGeom>
              <a:solidFill>
                <a:srgbClr val="637B36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9" name="ïṧḻîde">
                <a:extLst>
                  <a:ext uri="{FF2B5EF4-FFF2-40B4-BE49-F238E27FC236}">
                    <a16:creationId xmlns:a16="http://schemas.microsoft.com/office/drawing/2014/main" id="{44D18AEF-FA54-44D5-8914-15CD4FA9063E}"/>
                  </a:ext>
                </a:extLst>
              </p:cNvPr>
              <p:cNvSpPr/>
              <p:nvPr/>
            </p:nvSpPr>
            <p:spPr>
              <a:xfrm>
                <a:off x="5550312" y="2640806"/>
                <a:ext cx="488727" cy="281844"/>
              </a:xfrm>
              <a:custGeom>
                <a:avLst/>
                <a:gdLst>
                  <a:gd name="connsiteX0" fmla="*/ 488728 w 488727"/>
                  <a:gd name="connsiteY0" fmla="*/ 61436 h 281844"/>
                  <a:gd name="connsiteX1" fmla="*/ 47911 w 488727"/>
                  <a:gd name="connsiteY1" fmla="*/ 0 h 281844"/>
                  <a:gd name="connsiteX2" fmla="*/ 0 w 488727"/>
                  <a:gd name="connsiteY2" fmla="*/ 186785 h 281844"/>
                  <a:gd name="connsiteX3" fmla="*/ 460248 w 488727"/>
                  <a:gd name="connsiteY3" fmla="*/ 281845 h 281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88727" h="281844">
                    <a:moveTo>
                      <a:pt x="488728" y="61436"/>
                    </a:moveTo>
                    <a:lnTo>
                      <a:pt x="47911" y="0"/>
                    </a:lnTo>
                    <a:lnTo>
                      <a:pt x="0" y="186785"/>
                    </a:lnTo>
                    <a:lnTo>
                      <a:pt x="460248" y="281845"/>
                    </a:lnTo>
                    <a:close/>
                  </a:path>
                </a:pathLst>
              </a:custGeom>
              <a:solidFill>
                <a:srgbClr val="637B36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0" name="í$1îḋé">
                <a:extLst>
                  <a:ext uri="{FF2B5EF4-FFF2-40B4-BE49-F238E27FC236}">
                    <a16:creationId xmlns:a16="http://schemas.microsoft.com/office/drawing/2014/main" id="{385CD471-BAD6-4E25-8F2D-E9A27177EE85}"/>
                  </a:ext>
                </a:extLst>
              </p:cNvPr>
              <p:cNvSpPr/>
              <p:nvPr/>
            </p:nvSpPr>
            <p:spPr>
              <a:xfrm>
                <a:off x="5210817" y="2067687"/>
                <a:ext cx="307109" cy="398049"/>
              </a:xfrm>
              <a:custGeom>
                <a:avLst/>
                <a:gdLst>
                  <a:gd name="connsiteX0" fmla="*/ 268438 w 307109"/>
                  <a:gd name="connsiteY0" fmla="*/ 0 h 398049"/>
                  <a:gd name="connsiteX1" fmla="*/ 307109 w 307109"/>
                  <a:gd name="connsiteY1" fmla="*/ 398050 h 398049"/>
                  <a:gd name="connsiteX2" fmla="*/ 69080 w 307109"/>
                  <a:gd name="connsiteY2" fmla="*/ 398050 h 398049"/>
                  <a:gd name="connsiteX3" fmla="*/ 4786 w 307109"/>
                  <a:gd name="connsiteY3" fmla="*/ 0 h 398049"/>
                  <a:gd name="connsiteX4" fmla="*/ 268438 w 307109"/>
                  <a:gd name="connsiteY4" fmla="*/ 0 h 3980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07109" h="398049">
                    <a:moveTo>
                      <a:pt x="268438" y="0"/>
                    </a:moveTo>
                    <a:lnTo>
                      <a:pt x="307109" y="398050"/>
                    </a:lnTo>
                    <a:lnTo>
                      <a:pt x="69080" y="398050"/>
                    </a:lnTo>
                    <a:cubicBezTo>
                      <a:pt x="69080" y="398050"/>
                      <a:pt x="-21503" y="220504"/>
                      <a:pt x="4786" y="0"/>
                    </a:cubicBezTo>
                    <a:lnTo>
                      <a:pt x="268438" y="0"/>
                    </a:lnTo>
                    <a:close/>
                  </a:path>
                </a:pathLst>
              </a:custGeom>
              <a:solidFill>
                <a:srgbClr val="637B36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1" name="ïşļíḍê">
                <a:extLst>
                  <a:ext uri="{FF2B5EF4-FFF2-40B4-BE49-F238E27FC236}">
                    <a16:creationId xmlns:a16="http://schemas.microsoft.com/office/drawing/2014/main" id="{AB58AE09-789D-4F7D-93CF-23981D4CCFBD}"/>
                  </a:ext>
                </a:extLst>
              </p:cNvPr>
              <p:cNvSpPr/>
              <p:nvPr/>
            </p:nvSpPr>
            <p:spPr>
              <a:xfrm>
                <a:off x="6617397" y="2067687"/>
                <a:ext cx="301942" cy="398049"/>
              </a:xfrm>
              <a:custGeom>
                <a:avLst/>
                <a:gdLst>
                  <a:gd name="connsiteX0" fmla="*/ 0 w 301942"/>
                  <a:gd name="connsiteY0" fmla="*/ 0 h 398049"/>
                  <a:gd name="connsiteX1" fmla="*/ 0 w 301942"/>
                  <a:gd name="connsiteY1" fmla="*/ 398050 h 398049"/>
                  <a:gd name="connsiteX2" fmla="*/ 301943 w 301942"/>
                  <a:gd name="connsiteY2" fmla="*/ 398050 h 398049"/>
                  <a:gd name="connsiteX3" fmla="*/ 285274 w 301942"/>
                  <a:gd name="connsiteY3" fmla="*/ 0 h 3980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01942" h="398049">
                    <a:moveTo>
                      <a:pt x="0" y="0"/>
                    </a:moveTo>
                    <a:lnTo>
                      <a:pt x="0" y="398050"/>
                    </a:lnTo>
                    <a:lnTo>
                      <a:pt x="301943" y="398050"/>
                    </a:lnTo>
                    <a:lnTo>
                      <a:pt x="285274" y="0"/>
                    </a:lnTo>
                    <a:close/>
                  </a:path>
                </a:pathLst>
              </a:custGeom>
              <a:solidFill>
                <a:srgbClr val="637B36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2" name="íš1íḍé">
                <a:extLst>
                  <a:ext uri="{FF2B5EF4-FFF2-40B4-BE49-F238E27FC236}">
                    <a16:creationId xmlns:a16="http://schemas.microsoft.com/office/drawing/2014/main" id="{16F1988E-A72A-49AB-A715-7A72B50F1EA4}"/>
                  </a:ext>
                </a:extLst>
              </p:cNvPr>
              <p:cNvSpPr/>
              <p:nvPr/>
            </p:nvSpPr>
            <p:spPr>
              <a:xfrm>
                <a:off x="7109650" y="2067591"/>
                <a:ext cx="86105" cy="398144"/>
              </a:xfrm>
              <a:custGeom>
                <a:avLst/>
                <a:gdLst>
                  <a:gd name="connsiteX0" fmla="*/ 22384 w 86105"/>
                  <a:gd name="connsiteY0" fmla="*/ 398145 h 398144"/>
                  <a:gd name="connsiteX1" fmla="*/ 86106 w 86105"/>
                  <a:gd name="connsiteY1" fmla="*/ 49244 h 398144"/>
                  <a:gd name="connsiteX2" fmla="*/ 84867 w 86105"/>
                  <a:gd name="connsiteY2" fmla="*/ 0 h 398144"/>
                  <a:gd name="connsiteX3" fmla="*/ 0 w 86105"/>
                  <a:gd name="connsiteY3" fmla="*/ 0 h 398144"/>
                  <a:gd name="connsiteX4" fmla="*/ 0 w 86105"/>
                  <a:gd name="connsiteY4" fmla="*/ 398050 h 398144"/>
                  <a:gd name="connsiteX5" fmla="*/ 22384 w 86105"/>
                  <a:gd name="connsiteY5" fmla="*/ 398050 h 3981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86105" h="398144">
                    <a:moveTo>
                      <a:pt x="22384" y="398145"/>
                    </a:moveTo>
                    <a:cubicBezTo>
                      <a:pt x="63532" y="289655"/>
                      <a:pt x="86106" y="172117"/>
                      <a:pt x="86106" y="49244"/>
                    </a:cubicBezTo>
                    <a:cubicBezTo>
                      <a:pt x="86106" y="32766"/>
                      <a:pt x="85725" y="16288"/>
                      <a:pt x="84867" y="0"/>
                    </a:cubicBezTo>
                    <a:lnTo>
                      <a:pt x="0" y="0"/>
                    </a:lnTo>
                    <a:lnTo>
                      <a:pt x="0" y="398050"/>
                    </a:lnTo>
                    <a:lnTo>
                      <a:pt x="22384" y="398050"/>
                    </a:lnTo>
                    <a:close/>
                  </a:path>
                </a:pathLst>
              </a:custGeom>
              <a:solidFill>
                <a:srgbClr val="637B36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3" name="išḻïdê">
                <a:extLst>
                  <a:ext uri="{FF2B5EF4-FFF2-40B4-BE49-F238E27FC236}">
                    <a16:creationId xmlns:a16="http://schemas.microsoft.com/office/drawing/2014/main" id="{70B75AA1-3C5A-4086-B98B-03FC2C029239}"/>
                  </a:ext>
                </a:extLst>
              </p:cNvPr>
              <p:cNvSpPr/>
              <p:nvPr/>
            </p:nvSpPr>
            <p:spPr>
              <a:xfrm>
                <a:off x="6121050" y="2001488"/>
                <a:ext cx="367283" cy="225170"/>
              </a:xfrm>
              <a:custGeom>
                <a:avLst/>
                <a:gdLst>
                  <a:gd name="connsiteX0" fmla="*/ 361664 w 367283"/>
                  <a:gd name="connsiteY0" fmla="*/ 132683 h 225170"/>
                  <a:gd name="connsiteX1" fmla="*/ 331565 w 367283"/>
                  <a:gd name="connsiteY1" fmla="*/ 0 h 225170"/>
                  <a:gd name="connsiteX2" fmla="*/ 0 w 367283"/>
                  <a:gd name="connsiteY2" fmla="*/ 41434 h 225170"/>
                  <a:gd name="connsiteX3" fmla="*/ 24765 w 367283"/>
                  <a:gd name="connsiteY3" fmla="*/ 225171 h 225170"/>
                  <a:gd name="connsiteX4" fmla="*/ 367284 w 367283"/>
                  <a:gd name="connsiteY4" fmla="*/ 152781 h 2251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67283" h="225170">
                    <a:moveTo>
                      <a:pt x="361664" y="132683"/>
                    </a:moveTo>
                    <a:lnTo>
                      <a:pt x="331565" y="0"/>
                    </a:lnTo>
                    <a:lnTo>
                      <a:pt x="0" y="41434"/>
                    </a:lnTo>
                    <a:lnTo>
                      <a:pt x="24765" y="225171"/>
                    </a:lnTo>
                    <a:lnTo>
                      <a:pt x="367284" y="152781"/>
                    </a:lnTo>
                    <a:close/>
                  </a:path>
                </a:pathLst>
              </a:custGeom>
              <a:solidFill>
                <a:srgbClr val="637B36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32" name="isḷiḑê">
              <a:extLst>
                <a:ext uri="{FF2B5EF4-FFF2-40B4-BE49-F238E27FC236}">
                  <a16:creationId xmlns:a16="http://schemas.microsoft.com/office/drawing/2014/main" id="{E64FF448-809B-4E03-8A3A-39A74064A0F4}"/>
                </a:ext>
              </a:extLst>
            </p:cNvPr>
            <p:cNvSpPr/>
            <p:nvPr/>
          </p:nvSpPr>
          <p:spPr>
            <a:xfrm>
              <a:off x="5225700" y="1336738"/>
              <a:ext cx="1607153" cy="1825942"/>
            </a:xfrm>
            <a:custGeom>
              <a:avLst/>
              <a:gdLst>
                <a:gd name="connsiteX0" fmla="*/ 157163 w 1607153"/>
                <a:gd name="connsiteY0" fmla="*/ 741712 h 1825942"/>
                <a:gd name="connsiteX1" fmla="*/ 499586 w 1607153"/>
                <a:gd name="connsiteY1" fmla="*/ 0 h 1825942"/>
                <a:gd name="connsiteX2" fmla="*/ 0 w 1607153"/>
                <a:gd name="connsiteY2" fmla="*/ 851154 h 1825942"/>
                <a:gd name="connsiteX3" fmla="*/ 974788 w 1607153"/>
                <a:gd name="connsiteY3" fmla="*/ 1825942 h 1825942"/>
                <a:gd name="connsiteX4" fmla="*/ 1607153 w 1607153"/>
                <a:gd name="connsiteY4" fmla="*/ 1592961 h 1825942"/>
                <a:gd name="connsiteX5" fmla="*/ 1131951 w 1607153"/>
                <a:gd name="connsiteY5" fmla="*/ 1716500 h 1825942"/>
                <a:gd name="connsiteX6" fmla="*/ 157163 w 1607153"/>
                <a:gd name="connsiteY6" fmla="*/ 741712 h 18259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607153" h="1825942">
                  <a:moveTo>
                    <a:pt x="157163" y="741712"/>
                  </a:moveTo>
                  <a:cubicBezTo>
                    <a:pt x="157163" y="444722"/>
                    <a:pt x="290036" y="178784"/>
                    <a:pt x="499586" y="0"/>
                  </a:cubicBezTo>
                  <a:cubicBezTo>
                    <a:pt x="201549" y="166783"/>
                    <a:pt x="0" y="485394"/>
                    <a:pt x="0" y="851154"/>
                  </a:cubicBezTo>
                  <a:cubicBezTo>
                    <a:pt x="0" y="1389507"/>
                    <a:pt x="436436" y="1825942"/>
                    <a:pt x="974788" y="1825942"/>
                  </a:cubicBezTo>
                  <a:cubicBezTo>
                    <a:pt x="1216152" y="1825942"/>
                    <a:pt x="1436941" y="1738217"/>
                    <a:pt x="1607153" y="1592961"/>
                  </a:cubicBezTo>
                  <a:cubicBezTo>
                    <a:pt x="1466564" y="1671638"/>
                    <a:pt x="1304449" y="1716500"/>
                    <a:pt x="1131951" y="1716500"/>
                  </a:cubicBezTo>
                  <a:cubicBezTo>
                    <a:pt x="593598" y="1716405"/>
                    <a:pt x="157163" y="1280065"/>
                    <a:pt x="157163" y="741712"/>
                  </a:cubicBezTo>
                  <a:close/>
                </a:path>
              </a:pathLst>
            </a:custGeom>
            <a:solidFill>
              <a:srgbClr val="773020">
                <a:alpha val="20000"/>
              </a:srgb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</p:grpSp>
    </p:spTree>
    <p:custDataLst>
      <p:tags r:id="rId2"/>
    </p:custDataLst>
    <p:extLst>
      <p:ext uri="{BB962C8B-B14F-4D97-AF65-F5344CB8AC3E}">
        <p14:creationId xmlns:p14="http://schemas.microsoft.com/office/powerpoint/2010/main" val="91193317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îšliḑé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图片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863857">
            <a:off x="3804829" y="2786306"/>
            <a:ext cx="1864208" cy="2488719"/>
          </a:xfrm>
          <a:prstGeom prst="rect">
            <a:avLst/>
          </a:prstGeom>
        </p:spPr>
      </p:pic>
      <p:sp>
        <p:nvSpPr>
          <p:cNvPr id="12" name="îSlíḋê">
            <a:extLst>
              <a:ext uri="{FF2B5EF4-FFF2-40B4-BE49-F238E27FC236}">
                <a16:creationId xmlns:a16="http://schemas.microsoft.com/office/drawing/2014/main" id="{BAC16560-E63D-4629-BCB4-B967131586CD}"/>
              </a:ext>
            </a:extLst>
          </p:cNvPr>
          <p:cNvSpPr/>
          <p:nvPr/>
        </p:nvSpPr>
        <p:spPr>
          <a:xfrm>
            <a:off x="0" y="5604288"/>
            <a:ext cx="12192000" cy="631413"/>
          </a:xfrm>
          <a:prstGeom prst="rect">
            <a:avLst/>
          </a:prstGeom>
          <a:solidFill>
            <a:schemeClr val="accent1"/>
          </a:solidFill>
          <a:ln w="12700" cap="rnd">
            <a:noFill/>
            <a:prstDash val="solid"/>
            <a:round/>
            <a:headEnd/>
            <a:tailE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 defTabSz="914309"/>
            <a:endParaRPr lang="zh-CN" altLang="en-US" sz="2000" b="1" dirty="0">
              <a:solidFill>
                <a:schemeClr val="bg1"/>
              </a:solidFill>
            </a:endParaRPr>
          </a:p>
        </p:txBody>
      </p:sp>
      <p:grpSp>
        <p:nvGrpSpPr>
          <p:cNvPr id="14" name="ïsḷïḑè">
            <a:extLst>
              <a:ext uri="{FF2B5EF4-FFF2-40B4-BE49-F238E27FC236}">
                <a16:creationId xmlns:a16="http://schemas.microsoft.com/office/drawing/2014/main" id="{1A8B0280-2F74-4715-893A-150B29FC1ADA}"/>
              </a:ext>
            </a:extLst>
          </p:cNvPr>
          <p:cNvGrpSpPr/>
          <p:nvPr/>
        </p:nvGrpSpPr>
        <p:grpSpPr>
          <a:xfrm>
            <a:off x="0" y="1130334"/>
            <a:ext cx="2980592" cy="751284"/>
            <a:chOff x="0" y="1130332"/>
            <a:chExt cx="2980592" cy="751284"/>
          </a:xfrm>
        </p:grpSpPr>
        <p:sp>
          <p:nvSpPr>
            <p:cNvPr id="27" name="îşlide">
              <a:extLst>
                <a:ext uri="{FF2B5EF4-FFF2-40B4-BE49-F238E27FC236}">
                  <a16:creationId xmlns:a16="http://schemas.microsoft.com/office/drawing/2014/main" id="{C053F39F-0002-4AA2-9656-95A8C14E0D39}"/>
                </a:ext>
              </a:extLst>
            </p:cNvPr>
            <p:cNvSpPr txBox="1"/>
            <p:nvPr/>
          </p:nvSpPr>
          <p:spPr bwMode="auto">
            <a:xfrm>
              <a:off x="0" y="1188100"/>
              <a:ext cx="2813538" cy="63574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square" lIns="91440" tIns="45720" rIns="91440" bIns="45720" anchor="ctr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r">
                <a:spcBef>
                  <a:spcPct val="0"/>
                </a:spcBef>
              </a:pPr>
              <a:r>
                <a:rPr lang="zh-CN" altLang="en-US" sz="2800" b="1" dirty="0">
                  <a:solidFill>
                    <a:schemeClr val="accent1"/>
                  </a:solidFill>
                </a:rPr>
                <a:t>竞选宣言</a:t>
              </a:r>
              <a:endParaRPr lang="en-US" altLang="zh-CN" sz="2800" b="1" dirty="0">
                <a:solidFill>
                  <a:schemeClr val="accent1"/>
                </a:solidFill>
              </a:endParaRPr>
            </a:p>
          </p:txBody>
        </p:sp>
        <p:cxnSp>
          <p:nvCxnSpPr>
            <p:cNvPr id="28" name="ïṣ1ïḓé">
              <a:extLst>
                <a:ext uri="{FF2B5EF4-FFF2-40B4-BE49-F238E27FC236}">
                  <a16:creationId xmlns:a16="http://schemas.microsoft.com/office/drawing/2014/main" id="{BD5BF33D-F17E-4E8F-843B-D50CB78827FE}"/>
                </a:ext>
              </a:extLst>
            </p:cNvPr>
            <p:cNvCxnSpPr/>
            <p:nvPr/>
          </p:nvCxnSpPr>
          <p:spPr>
            <a:xfrm>
              <a:off x="0" y="1881616"/>
              <a:ext cx="2980592" cy="0"/>
            </a:xfrm>
            <a:prstGeom prst="line">
              <a:avLst/>
            </a:prstGeom>
            <a:ln w="9525" cap="rnd">
              <a:solidFill>
                <a:schemeClr val="bg1">
                  <a:lumMod val="75000"/>
                </a:schemeClr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ïş1îdê">
              <a:extLst>
                <a:ext uri="{FF2B5EF4-FFF2-40B4-BE49-F238E27FC236}">
                  <a16:creationId xmlns:a16="http://schemas.microsoft.com/office/drawing/2014/main" id="{06A0F8B7-E4FB-4372-BB70-BFC2B8C2C3B2}"/>
                </a:ext>
              </a:extLst>
            </p:cNvPr>
            <p:cNvCxnSpPr/>
            <p:nvPr/>
          </p:nvCxnSpPr>
          <p:spPr>
            <a:xfrm>
              <a:off x="0" y="1130332"/>
              <a:ext cx="1987062" cy="0"/>
            </a:xfrm>
            <a:prstGeom prst="line">
              <a:avLst/>
            </a:prstGeom>
            <a:ln w="9525" cap="rnd">
              <a:solidFill>
                <a:schemeClr val="bg1">
                  <a:lumMod val="75000"/>
                </a:schemeClr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文本框 2"/>
          <p:cNvSpPr txBox="1"/>
          <p:nvPr/>
        </p:nvSpPr>
        <p:spPr>
          <a:xfrm>
            <a:off x="6362204" y="1063697"/>
            <a:ext cx="4830619" cy="42473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dirty="0"/>
              <a:t>        我</a:t>
            </a:r>
            <a:r>
              <a:rPr lang="zh-CN" altLang="en-US" dirty="0"/>
              <a:t>活泼开朗，</a:t>
            </a:r>
            <a:r>
              <a:rPr lang="zh-CN" altLang="en-US" dirty="0"/>
              <a:t>多才多艺，与同学和睦相处，也是老师的好帮手。</a:t>
            </a:r>
            <a:endParaRPr lang="en-US" altLang="zh-CN" dirty="0"/>
          </a:p>
          <a:p>
            <a:pPr>
              <a:lnSpc>
                <a:spcPct val="150000"/>
              </a:lnSpc>
            </a:pPr>
            <a:r>
              <a:rPr lang="zh-CN" altLang="en-US" dirty="0"/>
              <a:t>       </a:t>
            </a:r>
            <a:r>
              <a:rPr lang="zh-CN" altLang="en-US" dirty="0" smtClean="0"/>
              <a:t>我积极参加学校活动，目前在学校</a:t>
            </a:r>
            <a:r>
              <a:rPr lang="zh-CN" altLang="en-US" dirty="0"/>
              <a:t>话剧社和仿生</a:t>
            </a:r>
            <a:r>
              <a:rPr lang="zh-CN" altLang="en-US" dirty="0" smtClean="0"/>
              <a:t>搬运社。</a:t>
            </a:r>
            <a:r>
              <a:rPr lang="zh-CN" altLang="en-US" dirty="0"/>
              <a:t>从一年级开始作为班干部，尽职尽责。我学习古筝，目前将参加七级考试</a:t>
            </a:r>
            <a:r>
              <a:rPr lang="zh-CN" altLang="en-US" dirty="0"/>
              <a:t>。我还在学习游泳和画画，希望让自己变的更加优秀。</a:t>
            </a:r>
            <a:endParaRPr lang="en-US" altLang="zh-CN" dirty="0"/>
          </a:p>
          <a:p>
            <a:pPr>
              <a:lnSpc>
                <a:spcPct val="150000"/>
              </a:lnSpc>
            </a:pPr>
            <a:r>
              <a:rPr lang="en-US" altLang="zh-CN" dirty="0"/>
              <a:t>      </a:t>
            </a:r>
            <a:r>
              <a:rPr lang="zh-CN" altLang="en-US" dirty="0"/>
              <a:t>相信</a:t>
            </a:r>
            <a:r>
              <a:rPr lang="zh-CN" altLang="en-US" dirty="0"/>
              <a:t>我是优秀的，相信我可以成为团队助力，我将努力成为更好的自己，并让我们组织成为更好的团队。</a:t>
            </a:r>
            <a:endParaRPr lang="zh-CN" altLang="en-US" dirty="0"/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20904833">
            <a:off x="1318534" y="2166792"/>
            <a:ext cx="2458199" cy="3281696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92578117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îšliḑé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îSlíḋê">
            <a:extLst>
              <a:ext uri="{FF2B5EF4-FFF2-40B4-BE49-F238E27FC236}">
                <a16:creationId xmlns:a16="http://schemas.microsoft.com/office/drawing/2014/main" id="{BAC16560-E63D-4629-BCB4-B967131586CD}"/>
              </a:ext>
            </a:extLst>
          </p:cNvPr>
          <p:cNvSpPr/>
          <p:nvPr/>
        </p:nvSpPr>
        <p:spPr>
          <a:xfrm>
            <a:off x="0" y="5604288"/>
            <a:ext cx="12192000" cy="631413"/>
          </a:xfrm>
          <a:prstGeom prst="rect">
            <a:avLst/>
          </a:prstGeom>
          <a:solidFill>
            <a:schemeClr val="accent1"/>
          </a:solidFill>
          <a:ln w="12700" cap="rnd">
            <a:noFill/>
            <a:prstDash val="solid"/>
            <a:round/>
            <a:headEnd/>
            <a:tailEnd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 defTabSz="914309"/>
            <a:endParaRPr lang="zh-CN" altLang="en-US" sz="2000" b="1" dirty="0">
              <a:solidFill>
                <a:schemeClr val="bg1"/>
              </a:solidFill>
            </a:endParaRPr>
          </a:p>
        </p:txBody>
      </p:sp>
      <p:grpSp>
        <p:nvGrpSpPr>
          <p:cNvPr id="14" name="ïsḷïḑè">
            <a:extLst>
              <a:ext uri="{FF2B5EF4-FFF2-40B4-BE49-F238E27FC236}">
                <a16:creationId xmlns:a16="http://schemas.microsoft.com/office/drawing/2014/main" id="{1A8B0280-2F74-4715-893A-150B29FC1ADA}"/>
              </a:ext>
            </a:extLst>
          </p:cNvPr>
          <p:cNvGrpSpPr/>
          <p:nvPr/>
        </p:nvGrpSpPr>
        <p:grpSpPr>
          <a:xfrm>
            <a:off x="0" y="1130334"/>
            <a:ext cx="2980592" cy="751284"/>
            <a:chOff x="0" y="1130332"/>
            <a:chExt cx="2980592" cy="751284"/>
          </a:xfrm>
        </p:grpSpPr>
        <p:sp>
          <p:nvSpPr>
            <p:cNvPr id="27" name="îşlide">
              <a:extLst>
                <a:ext uri="{FF2B5EF4-FFF2-40B4-BE49-F238E27FC236}">
                  <a16:creationId xmlns:a16="http://schemas.microsoft.com/office/drawing/2014/main" id="{C053F39F-0002-4AA2-9656-95A8C14E0D39}"/>
                </a:ext>
              </a:extLst>
            </p:cNvPr>
            <p:cNvSpPr txBox="1"/>
            <p:nvPr/>
          </p:nvSpPr>
          <p:spPr bwMode="auto">
            <a:xfrm>
              <a:off x="0" y="1188100"/>
              <a:ext cx="2813538" cy="63574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square" lIns="91440" tIns="45720" rIns="91440" bIns="45720" anchor="ctr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r">
                <a:spcBef>
                  <a:spcPct val="0"/>
                </a:spcBef>
              </a:pPr>
              <a:r>
                <a:rPr lang="zh-CN" altLang="en-US" sz="2800" b="1" dirty="0" smtClean="0">
                  <a:solidFill>
                    <a:schemeClr val="accent1"/>
                  </a:solidFill>
                </a:rPr>
                <a:t>请投我一票</a:t>
              </a:r>
              <a:endParaRPr lang="en-US" altLang="zh-CN" sz="2800" b="1" dirty="0">
                <a:solidFill>
                  <a:schemeClr val="accent1"/>
                </a:solidFill>
              </a:endParaRPr>
            </a:p>
          </p:txBody>
        </p:sp>
        <p:cxnSp>
          <p:nvCxnSpPr>
            <p:cNvPr id="28" name="ïṣ1ïḓé">
              <a:extLst>
                <a:ext uri="{FF2B5EF4-FFF2-40B4-BE49-F238E27FC236}">
                  <a16:creationId xmlns:a16="http://schemas.microsoft.com/office/drawing/2014/main" id="{BD5BF33D-F17E-4E8F-843B-D50CB78827FE}"/>
                </a:ext>
              </a:extLst>
            </p:cNvPr>
            <p:cNvCxnSpPr/>
            <p:nvPr/>
          </p:nvCxnSpPr>
          <p:spPr>
            <a:xfrm>
              <a:off x="0" y="1881616"/>
              <a:ext cx="2980592" cy="0"/>
            </a:xfrm>
            <a:prstGeom prst="line">
              <a:avLst/>
            </a:prstGeom>
            <a:ln w="9525" cap="rnd">
              <a:solidFill>
                <a:schemeClr val="bg1">
                  <a:lumMod val="75000"/>
                </a:schemeClr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ïş1îdê">
              <a:extLst>
                <a:ext uri="{FF2B5EF4-FFF2-40B4-BE49-F238E27FC236}">
                  <a16:creationId xmlns:a16="http://schemas.microsoft.com/office/drawing/2014/main" id="{06A0F8B7-E4FB-4372-BB70-BFC2B8C2C3B2}"/>
                </a:ext>
              </a:extLst>
            </p:cNvPr>
            <p:cNvCxnSpPr/>
            <p:nvPr/>
          </p:nvCxnSpPr>
          <p:spPr>
            <a:xfrm>
              <a:off x="0" y="1130332"/>
              <a:ext cx="1987062" cy="0"/>
            </a:xfrm>
            <a:prstGeom prst="line">
              <a:avLst/>
            </a:prstGeom>
            <a:ln w="9525" cap="rnd">
              <a:solidFill>
                <a:schemeClr val="bg1">
                  <a:lumMod val="75000"/>
                </a:schemeClr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0" name="íŝḻíḑè">
            <a:extLst>
              <a:ext uri="{FF2B5EF4-FFF2-40B4-BE49-F238E27FC236}">
                <a16:creationId xmlns:a16="http://schemas.microsoft.com/office/drawing/2014/main" id="{245B9A8D-C013-4987-A1D5-2963F607A32E}"/>
              </a:ext>
            </a:extLst>
          </p:cNvPr>
          <p:cNvGrpSpPr/>
          <p:nvPr/>
        </p:nvGrpSpPr>
        <p:grpSpPr>
          <a:xfrm rot="1108697">
            <a:off x="9463981" y="3685991"/>
            <a:ext cx="2183723" cy="1937898"/>
            <a:chOff x="4924596" y="919509"/>
            <a:chExt cx="2527720" cy="2243171"/>
          </a:xfrm>
          <a:solidFill>
            <a:schemeClr val="accent1"/>
          </a:solidFill>
        </p:grpSpPr>
        <p:grpSp>
          <p:nvGrpSpPr>
            <p:cNvPr id="31" name="íṧľïdè">
              <a:extLst>
                <a:ext uri="{FF2B5EF4-FFF2-40B4-BE49-F238E27FC236}">
                  <a16:creationId xmlns:a16="http://schemas.microsoft.com/office/drawing/2014/main" id="{AF2F3069-FD45-4BB5-961A-89CEB1788C70}"/>
                </a:ext>
              </a:extLst>
            </p:cNvPr>
            <p:cNvGrpSpPr/>
            <p:nvPr/>
          </p:nvGrpSpPr>
          <p:grpSpPr>
            <a:xfrm>
              <a:off x="4924596" y="919509"/>
              <a:ext cx="2527720" cy="2243171"/>
              <a:chOff x="4924596" y="919509"/>
              <a:chExt cx="2527720" cy="2243171"/>
            </a:xfrm>
            <a:solidFill>
              <a:schemeClr val="accent1"/>
            </a:solidFill>
          </p:grpSpPr>
          <p:grpSp>
            <p:nvGrpSpPr>
              <p:cNvPr id="33" name="í$ľîďé">
                <a:extLst>
                  <a:ext uri="{FF2B5EF4-FFF2-40B4-BE49-F238E27FC236}">
                    <a16:creationId xmlns:a16="http://schemas.microsoft.com/office/drawing/2014/main" id="{A6775A55-DE08-4BED-96EC-F1036EAF8D28}"/>
                  </a:ext>
                </a:extLst>
              </p:cNvPr>
              <p:cNvGrpSpPr/>
              <p:nvPr/>
            </p:nvGrpSpPr>
            <p:grpSpPr>
              <a:xfrm>
                <a:off x="4924596" y="919604"/>
                <a:ext cx="765977" cy="602204"/>
                <a:chOff x="4924596" y="919604"/>
                <a:chExt cx="765977" cy="602204"/>
              </a:xfrm>
              <a:solidFill>
                <a:srgbClr val="883827"/>
              </a:solidFill>
            </p:grpSpPr>
            <p:sp>
              <p:nvSpPr>
                <p:cNvPr id="69" name="ïṩḷiḓê">
                  <a:extLst>
                    <a:ext uri="{FF2B5EF4-FFF2-40B4-BE49-F238E27FC236}">
                      <a16:creationId xmlns:a16="http://schemas.microsoft.com/office/drawing/2014/main" id="{0D126432-55CE-41D8-A980-8218EFEBE481}"/>
                    </a:ext>
                  </a:extLst>
                </p:cNvPr>
                <p:cNvSpPr/>
                <p:nvPr/>
              </p:nvSpPr>
              <p:spPr>
                <a:xfrm>
                  <a:off x="5006243" y="919604"/>
                  <a:ext cx="579726" cy="415038"/>
                </a:xfrm>
                <a:custGeom>
                  <a:avLst/>
                  <a:gdLst>
                    <a:gd name="connsiteX0" fmla="*/ 257938 w 579726"/>
                    <a:gd name="connsiteY0" fmla="*/ 415039 h 415038"/>
                    <a:gd name="connsiteX1" fmla="*/ 250603 w 579726"/>
                    <a:gd name="connsiteY1" fmla="*/ 414848 h 415038"/>
                    <a:gd name="connsiteX2" fmla="*/ 1239 w 579726"/>
                    <a:gd name="connsiteY2" fmla="*/ 117287 h 415038"/>
                    <a:gd name="connsiteX3" fmla="*/ 20193 w 579726"/>
                    <a:gd name="connsiteY3" fmla="*/ 81664 h 415038"/>
                    <a:gd name="connsiteX4" fmla="*/ 55912 w 579726"/>
                    <a:gd name="connsiteY4" fmla="*/ 100618 h 415038"/>
                    <a:gd name="connsiteX5" fmla="*/ 253461 w 579726"/>
                    <a:gd name="connsiteY5" fmla="*/ 357889 h 415038"/>
                    <a:gd name="connsiteX6" fmla="*/ 524733 w 579726"/>
                    <a:gd name="connsiteY6" fmla="*/ 17560 h 415038"/>
                    <a:gd name="connsiteX7" fmla="*/ 562166 w 579726"/>
                    <a:gd name="connsiteY7" fmla="*/ 2225 h 415038"/>
                    <a:gd name="connsiteX8" fmla="*/ 577501 w 579726"/>
                    <a:gd name="connsiteY8" fmla="*/ 39658 h 415038"/>
                    <a:gd name="connsiteX9" fmla="*/ 257938 w 579726"/>
                    <a:gd name="connsiteY9" fmla="*/ 415039 h 41503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579726" h="415038">
                      <a:moveTo>
                        <a:pt x="257938" y="415039"/>
                      </a:moveTo>
                      <a:cubicBezTo>
                        <a:pt x="255461" y="415039"/>
                        <a:pt x="253080" y="414943"/>
                        <a:pt x="250603" y="414848"/>
                      </a:cubicBezTo>
                      <a:cubicBezTo>
                        <a:pt x="91536" y="406942"/>
                        <a:pt x="4858" y="129098"/>
                        <a:pt x="1239" y="117287"/>
                      </a:cubicBezTo>
                      <a:cubicBezTo>
                        <a:pt x="-3333" y="102238"/>
                        <a:pt x="5144" y="86236"/>
                        <a:pt x="20193" y="81664"/>
                      </a:cubicBezTo>
                      <a:cubicBezTo>
                        <a:pt x="35243" y="77092"/>
                        <a:pt x="51245" y="85569"/>
                        <a:pt x="55912" y="100618"/>
                      </a:cubicBezTo>
                      <a:cubicBezTo>
                        <a:pt x="77343" y="170532"/>
                        <a:pt x="154591" y="352936"/>
                        <a:pt x="253461" y="357889"/>
                      </a:cubicBezTo>
                      <a:cubicBezTo>
                        <a:pt x="311182" y="360746"/>
                        <a:pt x="404813" y="303977"/>
                        <a:pt x="524733" y="17560"/>
                      </a:cubicBezTo>
                      <a:cubicBezTo>
                        <a:pt x="530829" y="2987"/>
                        <a:pt x="547593" y="-3871"/>
                        <a:pt x="562166" y="2225"/>
                      </a:cubicBezTo>
                      <a:cubicBezTo>
                        <a:pt x="576739" y="8321"/>
                        <a:pt x="583597" y="25085"/>
                        <a:pt x="577501" y="39658"/>
                      </a:cubicBezTo>
                      <a:cubicBezTo>
                        <a:pt x="471774" y="292071"/>
                        <a:pt x="367094" y="415039"/>
                        <a:pt x="257938" y="415039"/>
                      </a:cubicBezTo>
                      <a:close/>
                    </a:path>
                  </a:pathLst>
                </a:custGeom>
                <a:solidFill>
                  <a:srgbClr val="883827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70" name="ïṣlïḑê">
                  <a:extLst>
                    <a:ext uri="{FF2B5EF4-FFF2-40B4-BE49-F238E27FC236}">
                      <a16:creationId xmlns:a16="http://schemas.microsoft.com/office/drawing/2014/main" id="{11748B94-BA4E-4A5B-9FB9-CA8BFE58CADA}"/>
                    </a:ext>
                  </a:extLst>
                </p:cNvPr>
                <p:cNvSpPr/>
                <p:nvPr/>
              </p:nvSpPr>
              <p:spPr>
                <a:xfrm>
                  <a:off x="4924596" y="989403"/>
                  <a:ext cx="765977" cy="348192"/>
                </a:xfrm>
                <a:custGeom>
                  <a:avLst/>
                  <a:gdLst>
                    <a:gd name="connsiteX0" fmla="*/ 336251 w 765977"/>
                    <a:gd name="connsiteY0" fmla="*/ 348193 h 348192"/>
                    <a:gd name="connsiteX1" fmla="*/ 318058 w 765977"/>
                    <a:gd name="connsiteY1" fmla="*/ 347621 h 348192"/>
                    <a:gd name="connsiteX2" fmla="*/ 3352 w 765977"/>
                    <a:gd name="connsiteY2" fmla="*/ 117211 h 348192"/>
                    <a:gd name="connsiteX3" fmla="*/ 15259 w 765977"/>
                    <a:gd name="connsiteY3" fmla="*/ 78540 h 348192"/>
                    <a:gd name="connsiteX4" fmla="*/ 53835 w 765977"/>
                    <a:gd name="connsiteY4" fmla="*/ 90446 h 348192"/>
                    <a:gd name="connsiteX5" fmla="*/ 321964 w 765977"/>
                    <a:gd name="connsiteY5" fmla="*/ 290662 h 348192"/>
                    <a:gd name="connsiteX6" fmla="*/ 714013 w 765977"/>
                    <a:gd name="connsiteY6" fmla="*/ 12151 h 348192"/>
                    <a:gd name="connsiteX7" fmla="*/ 753827 w 765977"/>
                    <a:gd name="connsiteY7" fmla="*/ 5197 h 348192"/>
                    <a:gd name="connsiteX8" fmla="*/ 760780 w 765977"/>
                    <a:gd name="connsiteY8" fmla="*/ 45012 h 348192"/>
                    <a:gd name="connsiteX9" fmla="*/ 336251 w 765977"/>
                    <a:gd name="connsiteY9" fmla="*/ 348193 h 34819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765977" h="348192">
                      <a:moveTo>
                        <a:pt x="336251" y="348193"/>
                      </a:moveTo>
                      <a:cubicBezTo>
                        <a:pt x="330155" y="348193"/>
                        <a:pt x="324154" y="348002"/>
                        <a:pt x="318058" y="347621"/>
                      </a:cubicBezTo>
                      <a:cubicBezTo>
                        <a:pt x="120986" y="335239"/>
                        <a:pt x="8020" y="126070"/>
                        <a:pt x="3352" y="117211"/>
                      </a:cubicBezTo>
                      <a:cubicBezTo>
                        <a:pt x="-4077" y="103305"/>
                        <a:pt x="1257" y="85969"/>
                        <a:pt x="15259" y="78540"/>
                      </a:cubicBezTo>
                      <a:cubicBezTo>
                        <a:pt x="29165" y="71206"/>
                        <a:pt x="46501" y="76444"/>
                        <a:pt x="53835" y="90446"/>
                      </a:cubicBezTo>
                      <a:cubicBezTo>
                        <a:pt x="54978" y="92637"/>
                        <a:pt x="156991" y="280470"/>
                        <a:pt x="321964" y="290662"/>
                      </a:cubicBezTo>
                      <a:cubicBezTo>
                        <a:pt x="447027" y="298377"/>
                        <a:pt x="578853" y="204651"/>
                        <a:pt x="714013" y="12151"/>
                      </a:cubicBezTo>
                      <a:cubicBezTo>
                        <a:pt x="723061" y="-803"/>
                        <a:pt x="740873" y="-3851"/>
                        <a:pt x="753827" y="5197"/>
                      </a:cubicBezTo>
                      <a:cubicBezTo>
                        <a:pt x="766781" y="14246"/>
                        <a:pt x="769829" y="32058"/>
                        <a:pt x="760780" y="45012"/>
                      </a:cubicBezTo>
                      <a:cubicBezTo>
                        <a:pt x="619334" y="246275"/>
                        <a:pt x="476650" y="348193"/>
                        <a:pt x="336251" y="348193"/>
                      </a:cubicBezTo>
                      <a:close/>
                    </a:path>
                  </a:pathLst>
                </a:custGeom>
                <a:solidFill>
                  <a:srgbClr val="883827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71" name="îŝľïḍè">
                  <a:extLst>
                    <a:ext uri="{FF2B5EF4-FFF2-40B4-BE49-F238E27FC236}">
                      <a16:creationId xmlns:a16="http://schemas.microsoft.com/office/drawing/2014/main" id="{8D122027-FF1B-4306-930C-8E0079C73061}"/>
                    </a:ext>
                  </a:extLst>
                </p:cNvPr>
                <p:cNvSpPr/>
                <p:nvPr/>
              </p:nvSpPr>
              <p:spPr>
                <a:xfrm>
                  <a:off x="5248083" y="1279103"/>
                  <a:ext cx="372786" cy="242705"/>
                </a:xfrm>
                <a:custGeom>
                  <a:avLst/>
                  <a:gdLst>
                    <a:gd name="connsiteX0" fmla="*/ 245650 w 372786"/>
                    <a:gd name="connsiteY0" fmla="*/ 242705 h 242705"/>
                    <a:gd name="connsiteX1" fmla="*/ 151067 w 372786"/>
                    <a:gd name="connsiteY1" fmla="*/ 221465 h 242705"/>
                    <a:gd name="connsiteX2" fmla="*/ 1239 w 372786"/>
                    <a:gd name="connsiteY2" fmla="*/ 36965 h 242705"/>
                    <a:gd name="connsiteX3" fmla="*/ 20194 w 372786"/>
                    <a:gd name="connsiteY3" fmla="*/ 1247 h 242705"/>
                    <a:gd name="connsiteX4" fmla="*/ 55912 w 372786"/>
                    <a:gd name="connsiteY4" fmla="*/ 20201 h 242705"/>
                    <a:gd name="connsiteX5" fmla="*/ 55912 w 372786"/>
                    <a:gd name="connsiteY5" fmla="*/ 20201 h 242705"/>
                    <a:gd name="connsiteX6" fmla="*/ 176022 w 372786"/>
                    <a:gd name="connsiteY6" fmla="*/ 170125 h 242705"/>
                    <a:gd name="connsiteX7" fmla="*/ 333566 w 372786"/>
                    <a:gd name="connsiteY7" fmla="*/ 166791 h 242705"/>
                    <a:gd name="connsiteX8" fmla="*/ 370713 w 372786"/>
                    <a:gd name="connsiteY8" fmla="*/ 182698 h 242705"/>
                    <a:gd name="connsiteX9" fmla="*/ 354807 w 372786"/>
                    <a:gd name="connsiteY9" fmla="*/ 219845 h 242705"/>
                    <a:gd name="connsiteX10" fmla="*/ 245650 w 372786"/>
                    <a:gd name="connsiteY10" fmla="*/ 242705 h 24270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372786" h="242705">
                      <a:moveTo>
                        <a:pt x="245650" y="242705"/>
                      </a:moveTo>
                      <a:cubicBezTo>
                        <a:pt x="212313" y="242705"/>
                        <a:pt x="180785" y="235657"/>
                        <a:pt x="151067" y="221465"/>
                      </a:cubicBezTo>
                      <a:cubicBezTo>
                        <a:pt x="42958" y="169744"/>
                        <a:pt x="2953" y="42299"/>
                        <a:pt x="1239" y="36965"/>
                      </a:cubicBezTo>
                      <a:cubicBezTo>
                        <a:pt x="-3333" y="21916"/>
                        <a:pt x="5144" y="5914"/>
                        <a:pt x="20194" y="1247"/>
                      </a:cubicBezTo>
                      <a:cubicBezTo>
                        <a:pt x="35243" y="-3325"/>
                        <a:pt x="51245" y="5057"/>
                        <a:pt x="55912" y="20201"/>
                      </a:cubicBezTo>
                      <a:lnTo>
                        <a:pt x="55912" y="20201"/>
                      </a:lnTo>
                      <a:cubicBezTo>
                        <a:pt x="56293" y="21249"/>
                        <a:pt x="90679" y="129453"/>
                        <a:pt x="176022" y="170125"/>
                      </a:cubicBezTo>
                      <a:cubicBezTo>
                        <a:pt x="221362" y="191747"/>
                        <a:pt x="274416" y="190604"/>
                        <a:pt x="333566" y="166791"/>
                      </a:cubicBezTo>
                      <a:cubicBezTo>
                        <a:pt x="348235" y="160886"/>
                        <a:pt x="364808" y="168029"/>
                        <a:pt x="370713" y="182698"/>
                      </a:cubicBezTo>
                      <a:cubicBezTo>
                        <a:pt x="376619" y="197366"/>
                        <a:pt x="369475" y="213940"/>
                        <a:pt x="354807" y="219845"/>
                      </a:cubicBezTo>
                      <a:cubicBezTo>
                        <a:pt x="316802" y="235085"/>
                        <a:pt x="280226" y="242705"/>
                        <a:pt x="245650" y="242705"/>
                      </a:cubicBezTo>
                      <a:close/>
                    </a:path>
                  </a:pathLst>
                </a:custGeom>
                <a:solidFill>
                  <a:srgbClr val="883827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grpSp>
            <p:nvGrpSpPr>
              <p:cNvPr id="34" name="îṣlïḑè">
                <a:extLst>
                  <a:ext uri="{FF2B5EF4-FFF2-40B4-BE49-F238E27FC236}">
                    <a16:creationId xmlns:a16="http://schemas.microsoft.com/office/drawing/2014/main" id="{4C16AFE7-A2A5-4E73-8159-7A07D23383A9}"/>
                  </a:ext>
                </a:extLst>
              </p:cNvPr>
              <p:cNvGrpSpPr/>
              <p:nvPr/>
            </p:nvGrpSpPr>
            <p:grpSpPr>
              <a:xfrm>
                <a:off x="6686400" y="919509"/>
                <a:ext cx="765917" cy="602300"/>
                <a:chOff x="6686400" y="919509"/>
                <a:chExt cx="765917" cy="602300"/>
              </a:xfrm>
              <a:solidFill>
                <a:srgbClr val="883827"/>
              </a:solidFill>
            </p:grpSpPr>
            <p:sp>
              <p:nvSpPr>
                <p:cNvPr id="66" name="î$ḷïḑé">
                  <a:extLst>
                    <a:ext uri="{FF2B5EF4-FFF2-40B4-BE49-F238E27FC236}">
                      <a16:creationId xmlns:a16="http://schemas.microsoft.com/office/drawing/2014/main" id="{1A3712C7-6226-4E50-8C6A-5FDE65B4A99C}"/>
                    </a:ext>
                  </a:extLst>
                </p:cNvPr>
                <p:cNvSpPr/>
                <p:nvPr/>
              </p:nvSpPr>
              <p:spPr>
                <a:xfrm>
                  <a:off x="6791099" y="919509"/>
                  <a:ext cx="579761" cy="415133"/>
                </a:xfrm>
                <a:custGeom>
                  <a:avLst/>
                  <a:gdLst>
                    <a:gd name="connsiteX0" fmla="*/ 321789 w 579761"/>
                    <a:gd name="connsiteY0" fmla="*/ 415134 h 415133"/>
                    <a:gd name="connsiteX1" fmla="*/ 2225 w 579761"/>
                    <a:gd name="connsiteY1" fmla="*/ 39658 h 415133"/>
                    <a:gd name="connsiteX2" fmla="*/ 17560 w 579761"/>
                    <a:gd name="connsiteY2" fmla="*/ 2225 h 415133"/>
                    <a:gd name="connsiteX3" fmla="*/ 54994 w 579761"/>
                    <a:gd name="connsiteY3" fmla="*/ 17560 h 415133"/>
                    <a:gd name="connsiteX4" fmla="*/ 326266 w 579761"/>
                    <a:gd name="connsiteY4" fmla="*/ 357889 h 415133"/>
                    <a:gd name="connsiteX5" fmla="*/ 523814 w 579761"/>
                    <a:gd name="connsiteY5" fmla="*/ 100714 h 415133"/>
                    <a:gd name="connsiteX6" fmla="*/ 559533 w 579761"/>
                    <a:gd name="connsiteY6" fmla="*/ 81759 h 415133"/>
                    <a:gd name="connsiteX7" fmla="*/ 578488 w 579761"/>
                    <a:gd name="connsiteY7" fmla="*/ 117478 h 415133"/>
                    <a:gd name="connsiteX8" fmla="*/ 329123 w 579761"/>
                    <a:gd name="connsiteY8" fmla="*/ 415039 h 415133"/>
                    <a:gd name="connsiteX9" fmla="*/ 321789 w 579761"/>
                    <a:gd name="connsiteY9" fmla="*/ 415134 h 41513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579761" h="415133">
                      <a:moveTo>
                        <a:pt x="321789" y="415134"/>
                      </a:moveTo>
                      <a:cubicBezTo>
                        <a:pt x="212537" y="415134"/>
                        <a:pt x="107953" y="292166"/>
                        <a:pt x="2225" y="39658"/>
                      </a:cubicBezTo>
                      <a:cubicBezTo>
                        <a:pt x="-3871" y="25085"/>
                        <a:pt x="2987" y="8321"/>
                        <a:pt x="17560" y="2225"/>
                      </a:cubicBezTo>
                      <a:cubicBezTo>
                        <a:pt x="32038" y="-3871"/>
                        <a:pt x="48898" y="2987"/>
                        <a:pt x="54994" y="17560"/>
                      </a:cubicBezTo>
                      <a:cubicBezTo>
                        <a:pt x="174913" y="303977"/>
                        <a:pt x="268449" y="360746"/>
                        <a:pt x="326266" y="357889"/>
                      </a:cubicBezTo>
                      <a:cubicBezTo>
                        <a:pt x="425326" y="352936"/>
                        <a:pt x="502478" y="170532"/>
                        <a:pt x="523814" y="100714"/>
                      </a:cubicBezTo>
                      <a:cubicBezTo>
                        <a:pt x="528481" y="85664"/>
                        <a:pt x="544388" y="77092"/>
                        <a:pt x="559533" y="81759"/>
                      </a:cubicBezTo>
                      <a:cubicBezTo>
                        <a:pt x="574582" y="86331"/>
                        <a:pt x="583155" y="102333"/>
                        <a:pt x="578488" y="117478"/>
                      </a:cubicBezTo>
                      <a:cubicBezTo>
                        <a:pt x="574868" y="129289"/>
                        <a:pt x="488191" y="407133"/>
                        <a:pt x="329123" y="415039"/>
                      </a:cubicBezTo>
                      <a:cubicBezTo>
                        <a:pt x="326647" y="415134"/>
                        <a:pt x="324170" y="415134"/>
                        <a:pt x="321789" y="415134"/>
                      </a:cubicBezTo>
                      <a:close/>
                    </a:path>
                  </a:pathLst>
                </a:custGeom>
                <a:solidFill>
                  <a:srgbClr val="883827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67" name="íṥļíďe">
                  <a:extLst>
                    <a:ext uri="{FF2B5EF4-FFF2-40B4-BE49-F238E27FC236}">
                      <a16:creationId xmlns:a16="http://schemas.microsoft.com/office/drawing/2014/main" id="{30C5449F-C07B-401D-9B89-4991564FB86E}"/>
                    </a:ext>
                  </a:extLst>
                </p:cNvPr>
                <p:cNvSpPr/>
                <p:nvPr/>
              </p:nvSpPr>
              <p:spPr>
                <a:xfrm>
                  <a:off x="6686400" y="989334"/>
                  <a:ext cx="765917" cy="348261"/>
                </a:xfrm>
                <a:custGeom>
                  <a:avLst/>
                  <a:gdLst>
                    <a:gd name="connsiteX0" fmla="*/ 429727 w 765917"/>
                    <a:gd name="connsiteY0" fmla="*/ 348262 h 348261"/>
                    <a:gd name="connsiteX1" fmla="*/ 5197 w 765917"/>
                    <a:gd name="connsiteY1" fmla="*/ 44986 h 348261"/>
                    <a:gd name="connsiteX2" fmla="*/ 12151 w 765917"/>
                    <a:gd name="connsiteY2" fmla="*/ 5171 h 348261"/>
                    <a:gd name="connsiteX3" fmla="*/ 51965 w 765917"/>
                    <a:gd name="connsiteY3" fmla="*/ 12124 h 348261"/>
                    <a:gd name="connsiteX4" fmla="*/ 444300 w 765917"/>
                    <a:gd name="connsiteY4" fmla="*/ 290635 h 348261"/>
                    <a:gd name="connsiteX5" fmla="*/ 712143 w 765917"/>
                    <a:gd name="connsiteY5" fmla="*/ 90515 h 348261"/>
                    <a:gd name="connsiteX6" fmla="*/ 750719 w 765917"/>
                    <a:gd name="connsiteY6" fmla="*/ 78609 h 348261"/>
                    <a:gd name="connsiteX7" fmla="*/ 762625 w 765917"/>
                    <a:gd name="connsiteY7" fmla="*/ 117280 h 348261"/>
                    <a:gd name="connsiteX8" fmla="*/ 447920 w 765917"/>
                    <a:gd name="connsiteY8" fmla="*/ 347690 h 348261"/>
                    <a:gd name="connsiteX9" fmla="*/ 429727 w 765917"/>
                    <a:gd name="connsiteY9" fmla="*/ 348262 h 34826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765917" h="348261">
                      <a:moveTo>
                        <a:pt x="429727" y="348262"/>
                      </a:moveTo>
                      <a:cubicBezTo>
                        <a:pt x="289328" y="348262"/>
                        <a:pt x="146644" y="246344"/>
                        <a:pt x="5197" y="44986"/>
                      </a:cubicBezTo>
                      <a:cubicBezTo>
                        <a:pt x="-3851" y="32032"/>
                        <a:pt x="-803" y="14220"/>
                        <a:pt x="12151" y="5171"/>
                      </a:cubicBezTo>
                      <a:cubicBezTo>
                        <a:pt x="25105" y="-3878"/>
                        <a:pt x="42916" y="-734"/>
                        <a:pt x="51965" y="12124"/>
                      </a:cubicBezTo>
                      <a:cubicBezTo>
                        <a:pt x="187315" y="204815"/>
                        <a:pt x="319237" y="298541"/>
                        <a:pt x="444300" y="290635"/>
                      </a:cubicBezTo>
                      <a:cubicBezTo>
                        <a:pt x="609749" y="280253"/>
                        <a:pt x="711095" y="92420"/>
                        <a:pt x="712143" y="90515"/>
                      </a:cubicBezTo>
                      <a:cubicBezTo>
                        <a:pt x="719477" y="76609"/>
                        <a:pt x="736813" y="71275"/>
                        <a:pt x="750719" y="78609"/>
                      </a:cubicBezTo>
                      <a:cubicBezTo>
                        <a:pt x="764626" y="86038"/>
                        <a:pt x="769960" y="103279"/>
                        <a:pt x="762625" y="117280"/>
                      </a:cubicBezTo>
                      <a:cubicBezTo>
                        <a:pt x="757863" y="126139"/>
                        <a:pt x="644992" y="335308"/>
                        <a:pt x="447920" y="347690"/>
                      </a:cubicBezTo>
                      <a:cubicBezTo>
                        <a:pt x="441823" y="348071"/>
                        <a:pt x="435823" y="348262"/>
                        <a:pt x="429727" y="348262"/>
                      </a:cubicBezTo>
                      <a:close/>
                    </a:path>
                  </a:pathLst>
                </a:custGeom>
                <a:solidFill>
                  <a:srgbClr val="883827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68" name="í$ḻïḍe">
                  <a:extLst>
                    <a:ext uri="{FF2B5EF4-FFF2-40B4-BE49-F238E27FC236}">
                      <a16:creationId xmlns:a16="http://schemas.microsoft.com/office/drawing/2014/main" id="{CDEE760E-0EF5-4FA7-8054-8E407EDD28CD}"/>
                    </a:ext>
                  </a:extLst>
                </p:cNvPr>
                <p:cNvSpPr/>
                <p:nvPr/>
              </p:nvSpPr>
              <p:spPr>
                <a:xfrm>
                  <a:off x="6756143" y="1278981"/>
                  <a:ext cx="372782" cy="242827"/>
                </a:xfrm>
                <a:custGeom>
                  <a:avLst/>
                  <a:gdLst>
                    <a:gd name="connsiteX0" fmla="*/ 127193 w 372782"/>
                    <a:gd name="connsiteY0" fmla="*/ 242828 h 242827"/>
                    <a:gd name="connsiteX1" fmla="*/ 17941 w 372782"/>
                    <a:gd name="connsiteY1" fmla="*/ 219873 h 242827"/>
                    <a:gd name="connsiteX2" fmla="*/ 2034 w 372782"/>
                    <a:gd name="connsiteY2" fmla="*/ 182725 h 242827"/>
                    <a:gd name="connsiteX3" fmla="*/ 39182 w 372782"/>
                    <a:gd name="connsiteY3" fmla="*/ 166818 h 242827"/>
                    <a:gd name="connsiteX4" fmla="*/ 197011 w 372782"/>
                    <a:gd name="connsiteY4" fmla="*/ 169962 h 242827"/>
                    <a:gd name="connsiteX5" fmla="*/ 316835 w 372782"/>
                    <a:gd name="connsiteY5" fmla="*/ 20229 h 242827"/>
                    <a:gd name="connsiteX6" fmla="*/ 352554 w 372782"/>
                    <a:gd name="connsiteY6" fmla="*/ 1274 h 242827"/>
                    <a:gd name="connsiteX7" fmla="*/ 371509 w 372782"/>
                    <a:gd name="connsiteY7" fmla="*/ 36993 h 242827"/>
                    <a:gd name="connsiteX8" fmla="*/ 221680 w 372782"/>
                    <a:gd name="connsiteY8" fmla="*/ 221492 h 242827"/>
                    <a:gd name="connsiteX9" fmla="*/ 127193 w 372782"/>
                    <a:gd name="connsiteY9" fmla="*/ 242828 h 24282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372782" h="242827">
                      <a:moveTo>
                        <a:pt x="127193" y="242828"/>
                      </a:moveTo>
                      <a:cubicBezTo>
                        <a:pt x="92521" y="242828"/>
                        <a:pt x="56041" y="235208"/>
                        <a:pt x="17941" y="219873"/>
                      </a:cubicBezTo>
                      <a:cubicBezTo>
                        <a:pt x="3272" y="213967"/>
                        <a:pt x="-3776" y="197394"/>
                        <a:pt x="2034" y="182725"/>
                      </a:cubicBezTo>
                      <a:cubicBezTo>
                        <a:pt x="7940" y="168056"/>
                        <a:pt x="24608" y="161008"/>
                        <a:pt x="39182" y="166818"/>
                      </a:cubicBezTo>
                      <a:cubicBezTo>
                        <a:pt x="98522" y="190631"/>
                        <a:pt x="151672" y="191679"/>
                        <a:pt x="197011" y="169962"/>
                      </a:cubicBezTo>
                      <a:cubicBezTo>
                        <a:pt x="282736" y="129004"/>
                        <a:pt x="316454" y="21372"/>
                        <a:pt x="316835" y="20229"/>
                      </a:cubicBezTo>
                      <a:cubicBezTo>
                        <a:pt x="321407" y="5179"/>
                        <a:pt x="337409" y="-3394"/>
                        <a:pt x="352554" y="1274"/>
                      </a:cubicBezTo>
                      <a:cubicBezTo>
                        <a:pt x="367604" y="5846"/>
                        <a:pt x="376176" y="21848"/>
                        <a:pt x="371509" y="36993"/>
                      </a:cubicBezTo>
                      <a:cubicBezTo>
                        <a:pt x="369890" y="42422"/>
                        <a:pt x="329789" y="169866"/>
                        <a:pt x="221680" y="221492"/>
                      </a:cubicBezTo>
                      <a:cubicBezTo>
                        <a:pt x="192058" y="235779"/>
                        <a:pt x="160435" y="242828"/>
                        <a:pt x="127193" y="242828"/>
                      </a:cubicBezTo>
                      <a:close/>
                    </a:path>
                  </a:pathLst>
                </a:custGeom>
                <a:solidFill>
                  <a:srgbClr val="883827"/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sp>
            <p:nvSpPr>
              <p:cNvPr id="35" name="iṣlîḋè">
                <a:extLst>
                  <a:ext uri="{FF2B5EF4-FFF2-40B4-BE49-F238E27FC236}">
                    <a16:creationId xmlns:a16="http://schemas.microsoft.com/office/drawing/2014/main" id="{86547C27-C2E4-4314-B768-907D13DE7627}"/>
                  </a:ext>
                </a:extLst>
              </p:cNvPr>
              <p:cNvSpPr/>
              <p:nvPr/>
            </p:nvSpPr>
            <p:spPr>
              <a:xfrm>
                <a:off x="5228557" y="1213104"/>
                <a:ext cx="1949576" cy="1949576"/>
              </a:xfrm>
              <a:custGeom>
                <a:avLst/>
                <a:gdLst>
                  <a:gd name="connsiteX0" fmla="*/ 1949577 w 1949576"/>
                  <a:gd name="connsiteY0" fmla="*/ 974788 h 1949576"/>
                  <a:gd name="connsiteX1" fmla="*/ 974788 w 1949576"/>
                  <a:gd name="connsiteY1" fmla="*/ 1949577 h 1949576"/>
                  <a:gd name="connsiteX2" fmla="*/ 0 w 1949576"/>
                  <a:gd name="connsiteY2" fmla="*/ 974788 h 1949576"/>
                  <a:gd name="connsiteX3" fmla="*/ 974788 w 1949576"/>
                  <a:gd name="connsiteY3" fmla="*/ 0 h 1949576"/>
                  <a:gd name="connsiteX4" fmla="*/ 1949577 w 1949576"/>
                  <a:gd name="connsiteY4" fmla="*/ 974788 h 19495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949576" h="1949576">
                    <a:moveTo>
                      <a:pt x="1949577" y="974788"/>
                    </a:moveTo>
                    <a:cubicBezTo>
                      <a:pt x="1949577" y="1513142"/>
                      <a:pt x="1513142" y="1949577"/>
                      <a:pt x="974788" y="1949577"/>
                    </a:cubicBezTo>
                    <a:cubicBezTo>
                      <a:pt x="436436" y="1949577"/>
                      <a:pt x="0" y="1513142"/>
                      <a:pt x="0" y="974788"/>
                    </a:cubicBezTo>
                    <a:cubicBezTo>
                      <a:pt x="0" y="436436"/>
                      <a:pt x="436436" y="0"/>
                      <a:pt x="974788" y="0"/>
                    </a:cubicBezTo>
                    <a:cubicBezTo>
                      <a:pt x="1513142" y="0"/>
                      <a:pt x="1949577" y="436436"/>
                      <a:pt x="1949577" y="974788"/>
                    </a:cubicBezTo>
                    <a:close/>
                  </a:path>
                </a:pathLst>
              </a:custGeom>
              <a:solidFill>
                <a:srgbClr val="AA5535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36" name="ïṥḻiďè">
                <a:extLst>
                  <a:ext uri="{FF2B5EF4-FFF2-40B4-BE49-F238E27FC236}">
                    <a16:creationId xmlns:a16="http://schemas.microsoft.com/office/drawing/2014/main" id="{957310EB-B494-4040-BCAB-50916EB41620}"/>
                  </a:ext>
                </a:extLst>
              </p:cNvPr>
              <p:cNvSpPr/>
              <p:nvPr/>
            </p:nvSpPr>
            <p:spPr>
              <a:xfrm>
                <a:off x="5743955" y="1427416"/>
                <a:ext cx="196786" cy="196786"/>
              </a:xfrm>
              <a:custGeom>
                <a:avLst/>
                <a:gdLst>
                  <a:gd name="connsiteX0" fmla="*/ 196787 w 196786"/>
                  <a:gd name="connsiteY0" fmla="*/ 98393 h 196786"/>
                  <a:gd name="connsiteX1" fmla="*/ 98393 w 196786"/>
                  <a:gd name="connsiteY1" fmla="*/ 196786 h 196786"/>
                  <a:gd name="connsiteX2" fmla="*/ 0 w 196786"/>
                  <a:gd name="connsiteY2" fmla="*/ 98393 h 196786"/>
                  <a:gd name="connsiteX3" fmla="*/ 98393 w 196786"/>
                  <a:gd name="connsiteY3" fmla="*/ 0 h 196786"/>
                  <a:gd name="connsiteX4" fmla="*/ 196787 w 196786"/>
                  <a:gd name="connsiteY4" fmla="*/ 98393 h 1967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96786" h="196786">
                    <a:moveTo>
                      <a:pt x="196787" y="98393"/>
                    </a:moveTo>
                    <a:cubicBezTo>
                      <a:pt x="196787" y="152781"/>
                      <a:pt x="152686" y="196786"/>
                      <a:pt x="98393" y="196786"/>
                    </a:cubicBezTo>
                    <a:cubicBezTo>
                      <a:pt x="44005" y="196786"/>
                      <a:pt x="0" y="152686"/>
                      <a:pt x="0" y="98393"/>
                    </a:cubicBezTo>
                    <a:cubicBezTo>
                      <a:pt x="0" y="44006"/>
                      <a:pt x="44101" y="0"/>
                      <a:pt x="98393" y="0"/>
                    </a:cubicBezTo>
                    <a:cubicBezTo>
                      <a:pt x="152686" y="0"/>
                      <a:pt x="196787" y="44101"/>
                      <a:pt x="196787" y="98393"/>
                    </a:cubicBezTo>
                    <a:close/>
                  </a:path>
                </a:pathLst>
              </a:custGeom>
              <a:solidFill>
                <a:srgbClr val="7A2A2A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37" name="isḻíḑé">
                <a:extLst>
                  <a:ext uri="{FF2B5EF4-FFF2-40B4-BE49-F238E27FC236}">
                    <a16:creationId xmlns:a16="http://schemas.microsoft.com/office/drawing/2014/main" id="{56D33A82-21B0-42F4-A1BF-703DBD458183}"/>
                  </a:ext>
                </a:extLst>
              </p:cNvPr>
              <p:cNvSpPr/>
              <p:nvPr/>
            </p:nvSpPr>
            <p:spPr>
              <a:xfrm rot="-1350026">
                <a:off x="6452026" y="1427346"/>
                <a:ext cx="196791" cy="196791"/>
              </a:xfrm>
              <a:custGeom>
                <a:avLst/>
                <a:gdLst>
                  <a:gd name="connsiteX0" fmla="*/ 196791 w 196791"/>
                  <a:gd name="connsiteY0" fmla="*/ 98396 h 196791"/>
                  <a:gd name="connsiteX1" fmla="*/ 98396 w 196791"/>
                  <a:gd name="connsiteY1" fmla="*/ 196792 h 196791"/>
                  <a:gd name="connsiteX2" fmla="*/ 0 w 196791"/>
                  <a:gd name="connsiteY2" fmla="*/ 98396 h 196791"/>
                  <a:gd name="connsiteX3" fmla="*/ 98396 w 196791"/>
                  <a:gd name="connsiteY3" fmla="*/ 0 h 196791"/>
                  <a:gd name="connsiteX4" fmla="*/ 196791 w 196791"/>
                  <a:gd name="connsiteY4" fmla="*/ 98396 h 19679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96791" h="196791">
                    <a:moveTo>
                      <a:pt x="196791" y="98396"/>
                    </a:moveTo>
                    <a:cubicBezTo>
                      <a:pt x="196791" y="152738"/>
                      <a:pt x="152738" y="196792"/>
                      <a:pt x="98396" y="196792"/>
                    </a:cubicBezTo>
                    <a:cubicBezTo>
                      <a:pt x="44053" y="196792"/>
                      <a:pt x="0" y="152738"/>
                      <a:pt x="0" y="98396"/>
                    </a:cubicBezTo>
                    <a:cubicBezTo>
                      <a:pt x="0" y="44053"/>
                      <a:pt x="44054" y="0"/>
                      <a:pt x="98396" y="0"/>
                    </a:cubicBezTo>
                    <a:cubicBezTo>
                      <a:pt x="152738" y="0"/>
                      <a:pt x="196791" y="44053"/>
                      <a:pt x="196791" y="98396"/>
                    </a:cubicBezTo>
                    <a:close/>
                  </a:path>
                </a:pathLst>
              </a:custGeom>
              <a:solidFill>
                <a:srgbClr val="7A2A2A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38" name="işḻîḑe">
                <a:extLst>
                  <a:ext uri="{FF2B5EF4-FFF2-40B4-BE49-F238E27FC236}">
                    <a16:creationId xmlns:a16="http://schemas.microsoft.com/office/drawing/2014/main" id="{C713451F-BEBD-4D24-A104-CA4ED345A3FF}"/>
                  </a:ext>
                </a:extLst>
              </p:cNvPr>
              <p:cNvSpPr/>
              <p:nvPr/>
            </p:nvSpPr>
            <p:spPr>
              <a:xfrm>
                <a:off x="5864351" y="1652206"/>
                <a:ext cx="646557" cy="351853"/>
              </a:xfrm>
              <a:custGeom>
                <a:avLst/>
                <a:gdLst>
                  <a:gd name="connsiteX0" fmla="*/ 323279 w 646557"/>
                  <a:gd name="connsiteY0" fmla="*/ 351853 h 351853"/>
                  <a:gd name="connsiteX1" fmla="*/ 0 w 646557"/>
                  <a:gd name="connsiteY1" fmla="*/ 28575 h 351853"/>
                  <a:gd name="connsiteX2" fmla="*/ 28575 w 646557"/>
                  <a:gd name="connsiteY2" fmla="*/ 0 h 351853"/>
                  <a:gd name="connsiteX3" fmla="*/ 57150 w 646557"/>
                  <a:gd name="connsiteY3" fmla="*/ 28575 h 351853"/>
                  <a:gd name="connsiteX4" fmla="*/ 323279 w 646557"/>
                  <a:gd name="connsiteY4" fmla="*/ 294704 h 351853"/>
                  <a:gd name="connsiteX5" fmla="*/ 589407 w 646557"/>
                  <a:gd name="connsiteY5" fmla="*/ 28575 h 351853"/>
                  <a:gd name="connsiteX6" fmla="*/ 617982 w 646557"/>
                  <a:gd name="connsiteY6" fmla="*/ 0 h 351853"/>
                  <a:gd name="connsiteX7" fmla="*/ 646557 w 646557"/>
                  <a:gd name="connsiteY7" fmla="*/ 28575 h 351853"/>
                  <a:gd name="connsiteX8" fmla="*/ 323279 w 646557"/>
                  <a:gd name="connsiteY8" fmla="*/ 351853 h 3518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646557" h="351853">
                    <a:moveTo>
                      <a:pt x="323279" y="351853"/>
                    </a:moveTo>
                    <a:cubicBezTo>
                      <a:pt x="145066" y="351853"/>
                      <a:pt x="0" y="206883"/>
                      <a:pt x="0" y="28575"/>
                    </a:cubicBezTo>
                    <a:cubicBezTo>
                      <a:pt x="0" y="12764"/>
                      <a:pt x="12763" y="0"/>
                      <a:pt x="28575" y="0"/>
                    </a:cubicBezTo>
                    <a:cubicBezTo>
                      <a:pt x="44387" y="0"/>
                      <a:pt x="57150" y="12764"/>
                      <a:pt x="57150" y="28575"/>
                    </a:cubicBezTo>
                    <a:cubicBezTo>
                      <a:pt x="57150" y="175260"/>
                      <a:pt x="176498" y="294704"/>
                      <a:pt x="323279" y="294704"/>
                    </a:cubicBezTo>
                    <a:cubicBezTo>
                      <a:pt x="469963" y="294704"/>
                      <a:pt x="589407" y="175355"/>
                      <a:pt x="589407" y="28575"/>
                    </a:cubicBezTo>
                    <a:cubicBezTo>
                      <a:pt x="589407" y="12764"/>
                      <a:pt x="602171" y="0"/>
                      <a:pt x="617982" y="0"/>
                    </a:cubicBezTo>
                    <a:cubicBezTo>
                      <a:pt x="633794" y="0"/>
                      <a:pt x="646557" y="12764"/>
                      <a:pt x="646557" y="28575"/>
                    </a:cubicBezTo>
                    <a:cubicBezTo>
                      <a:pt x="646462" y="206883"/>
                      <a:pt x="501491" y="351853"/>
                      <a:pt x="323279" y="351853"/>
                    </a:cubicBezTo>
                    <a:close/>
                  </a:path>
                </a:pathLst>
              </a:custGeom>
              <a:solidFill>
                <a:srgbClr val="883827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39" name="iśḷíḑe">
                <a:extLst>
                  <a:ext uri="{FF2B5EF4-FFF2-40B4-BE49-F238E27FC236}">
                    <a16:creationId xmlns:a16="http://schemas.microsoft.com/office/drawing/2014/main" id="{050ABD41-0AA6-4281-87B4-0F79E68B3BE6}"/>
                  </a:ext>
                </a:extLst>
              </p:cNvPr>
              <p:cNvSpPr/>
              <p:nvPr/>
            </p:nvSpPr>
            <p:spPr>
              <a:xfrm>
                <a:off x="5045582" y="1600200"/>
                <a:ext cx="298513" cy="298513"/>
              </a:xfrm>
              <a:custGeom>
                <a:avLst/>
                <a:gdLst>
                  <a:gd name="connsiteX0" fmla="*/ 298513 w 298513"/>
                  <a:gd name="connsiteY0" fmla="*/ 149257 h 298513"/>
                  <a:gd name="connsiteX1" fmla="*/ 149257 w 298513"/>
                  <a:gd name="connsiteY1" fmla="*/ 298513 h 298513"/>
                  <a:gd name="connsiteX2" fmla="*/ 0 w 298513"/>
                  <a:gd name="connsiteY2" fmla="*/ 149257 h 298513"/>
                  <a:gd name="connsiteX3" fmla="*/ 149257 w 298513"/>
                  <a:gd name="connsiteY3" fmla="*/ 0 h 298513"/>
                  <a:gd name="connsiteX4" fmla="*/ 298513 w 298513"/>
                  <a:gd name="connsiteY4" fmla="*/ 149257 h 2985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98513" h="298513">
                    <a:moveTo>
                      <a:pt x="298513" y="149257"/>
                    </a:moveTo>
                    <a:cubicBezTo>
                      <a:pt x="298513" y="231648"/>
                      <a:pt x="231648" y="298513"/>
                      <a:pt x="149257" y="298513"/>
                    </a:cubicBezTo>
                    <a:cubicBezTo>
                      <a:pt x="66865" y="298513"/>
                      <a:pt x="0" y="231648"/>
                      <a:pt x="0" y="149257"/>
                    </a:cubicBezTo>
                    <a:cubicBezTo>
                      <a:pt x="0" y="66865"/>
                      <a:pt x="66865" y="0"/>
                      <a:pt x="149257" y="0"/>
                    </a:cubicBezTo>
                    <a:cubicBezTo>
                      <a:pt x="231648" y="0"/>
                      <a:pt x="298513" y="66865"/>
                      <a:pt x="298513" y="149257"/>
                    </a:cubicBezTo>
                    <a:close/>
                  </a:path>
                </a:pathLst>
              </a:custGeom>
              <a:solidFill>
                <a:srgbClr val="AA5535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40" name="íŝlíḓê">
                <a:extLst>
                  <a:ext uri="{FF2B5EF4-FFF2-40B4-BE49-F238E27FC236}">
                    <a16:creationId xmlns:a16="http://schemas.microsoft.com/office/drawing/2014/main" id="{AD873C88-AC94-4B4A-95B8-669E13225A96}"/>
                  </a:ext>
                </a:extLst>
              </p:cNvPr>
              <p:cNvSpPr/>
              <p:nvPr/>
            </p:nvSpPr>
            <p:spPr>
              <a:xfrm>
                <a:off x="5954743" y="1567148"/>
                <a:ext cx="459009" cy="219075"/>
              </a:xfrm>
              <a:custGeom>
                <a:avLst/>
                <a:gdLst>
                  <a:gd name="connsiteX0" fmla="*/ 459009 w 459009"/>
                  <a:gd name="connsiteY0" fmla="*/ 109538 h 219075"/>
                  <a:gd name="connsiteX1" fmla="*/ 229552 w 459009"/>
                  <a:gd name="connsiteY1" fmla="*/ 219075 h 219075"/>
                  <a:gd name="connsiteX2" fmla="*/ 0 w 459009"/>
                  <a:gd name="connsiteY2" fmla="*/ 109538 h 219075"/>
                  <a:gd name="connsiteX3" fmla="*/ 229552 w 459009"/>
                  <a:gd name="connsiteY3" fmla="*/ 0 h 219075"/>
                  <a:gd name="connsiteX4" fmla="*/ 459009 w 459009"/>
                  <a:gd name="connsiteY4" fmla="*/ 109538 h 2190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59009" h="219075">
                    <a:moveTo>
                      <a:pt x="459009" y="109538"/>
                    </a:moveTo>
                    <a:cubicBezTo>
                      <a:pt x="459009" y="170021"/>
                      <a:pt x="356235" y="219075"/>
                      <a:pt x="229552" y="219075"/>
                    </a:cubicBezTo>
                    <a:cubicBezTo>
                      <a:pt x="102775" y="219075"/>
                      <a:pt x="0" y="170021"/>
                      <a:pt x="0" y="109538"/>
                    </a:cubicBezTo>
                    <a:cubicBezTo>
                      <a:pt x="0" y="49054"/>
                      <a:pt x="102775" y="0"/>
                      <a:pt x="229552" y="0"/>
                    </a:cubicBezTo>
                    <a:cubicBezTo>
                      <a:pt x="356235" y="0"/>
                      <a:pt x="459009" y="49054"/>
                      <a:pt x="459009" y="109538"/>
                    </a:cubicBezTo>
                    <a:close/>
                  </a:path>
                </a:pathLst>
              </a:custGeom>
              <a:solidFill>
                <a:srgbClr val="CD3D3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41" name="iṧḻîde">
                <a:extLst>
                  <a:ext uri="{FF2B5EF4-FFF2-40B4-BE49-F238E27FC236}">
                    <a16:creationId xmlns:a16="http://schemas.microsoft.com/office/drawing/2014/main" id="{3A58AA56-8C89-438E-875F-A3B25C75724D}"/>
                  </a:ext>
                </a:extLst>
              </p:cNvPr>
              <p:cNvSpPr/>
              <p:nvPr/>
            </p:nvSpPr>
            <p:spPr>
              <a:xfrm>
                <a:off x="6561581" y="1618297"/>
                <a:ext cx="218312" cy="218312"/>
              </a:xfrm>
              <a:custGeom>
                <a:avLst/>
                <a:gdLst>
                  <a:gd name="connsiteX0" fmla="*/ 218313 w 218312"/>
                  <a:gd name="connsiteY0" fmla="*/ 109156 h 218312"/>
                  <a:gd name="connsiteX1" fmla="*/ 109156 w 218312"/>
                  <a:gd name="connsiteY1" fmla="*/ 218313 h 218312"/>
                  <a:gd name="connsiteX2" fmla="*/ 0 w 218312"/>
                  <a:gd name="connsiteY2" fmla="*/ 109156 h 218312"/>
                  <a:gd name="connsiteX3" fmla="*/ 109156 w 218312"/>
                  <a:gd name="connsiteY3" fmla="*/ 0 h 218312"/>
                  <a:gd name="connsiteX4" fmla="*/ 218313 w 218312"/>
                  <a:gd name="connsiteY4" fmla="*/ 109156 h 2183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18312" h="218312">
                    <a:moveTo>
                      <a:pt x="218313" y="109156"/>
                    </a:moveTo>
                    <a:cubicBezTo>
                      <a:pt x="218313" y="169450"/>
                      <a:pt x="169450" y="218313"/>
                      <a:pt x="109156" y="218313"/>
                    </a:cubicBezTo>
                    <a:cubicBezTo>
                      <a:pt x="48863" y="218313"/>
                      <a:pt x="0" y="169450"/>
                      <a:pt x="0" y="109156"/>
                    </a:cubicBezTo>
                    <a:cubicBezTo>
                      <a:pt x="0" y="48863"/>
                      <a:pt x="48863" y="0"/>
                      <a:pt x="109156" y="0"/>
                    </a:cubicBezTo>
                    <a:cubicBezTo>
                      <a:pt x="169450" y="0"/>
                      <a:pt x="218313" y="48863"/>
                      <a:pt x="218313" y="109156"/>
                    </a:cubicBezTo>
                    <a:close/>
                  </a:path>
                </a:pathLst>
              </a:custGeom>
              <a:solidFill>
                <a:srgbClr val="F5898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42" name="ïsļídê">
                <a:extLst>
                  <a:ext uri="{FF2B5EF4-FFF2-40B4-BE49-F238E27FC236}">
                    <a16:creationId xmlns:a16="http://schemas.microsoft.com/office/drawing/2014/main" id="{B6ED5E38-5CB6-42B8-9ADF-9F4407780C6A}"/>
                  </a:ext>
                </a:extLst>
              </p:cNvPr>
              <p:cNvSpPr/>
              <p:nvPr/>
            </p:nvSpPr>
            <p:spPr>
              <a:xfrm>
                <a:off x="5575648" y="1618297"/>
                <a:ext cx="218313" cy="218312"/>
              </a:xfrm>
              <a:custGeom>
                <a:avLst/>
                <a:gdLst>
                  <a:gd name="connsiteX0" fmla="*/ 218313 w 218313"/>
                  <a:gd name="connsiteY0" fmla="*/ 109156 h 218312"/>
                  <a:gd name="connsiteX1" fmla="*/ 109156 w 218313"/>
                  <a:gd name="connsiteY1" fmla="*/ 218313 h 218312"/>
                  <a:gd name="connsiteX2" fmla="*/ 0 w 218313"/>
                  <a:gd name="connsiteY2" fmla="*/ 109156 h 218312"/>
                  <a:gd name="connsiteX3" fmla="*/ 109156 w 218313"/>
                  <a:gd name="connsiteY3" fmla="*/ 0 h 218312"/>
                  <a:gd name="connsiteX4" fmla="*/ 218313 w 218313"/>
                  <a:gd name="connsiteY4" fmla="*/ 109156 h 2183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18313" h="218312">
                    <a:moveTo>
                      <a:pt x="218313" y="109156"/>
                    </a:moveTo>
                    <a:cubicBezTo>
                      <a:pt x="218313" y="169450"/>
                      <a:pt x="169450" y="218313"/>
                      <a:pt x="109156" y="218313"/>
                    </a:cubicBezTo>
                    <a:cubicBezTo>
                      <a:pt x="48863" y="218313"/>
                      <a:pt x="0" y="169450"/>
                      <a:pt x="0" y="109156"/>
                    </a:cubicBezTo>
                    <a:cubicBezTo>
                      <a:pt x="0" y="48863"/>
                      <a:pt x="48863" y="0"/>
                      <a:pt x="109156" y="0"/>
                    </a:cubicBezTo>
                    <a:cubicBezTo>
                      <a:pt x="169450" y="0"/>
                      <a:pt x="218313" y="48863"/>
                      <a:pt x="218313" y="109156"/>
                    </a:cubicBezTo>
                    <a:close/>
                  </a:path>
                </a:pathLst>
              </a:custGeom>
              <a:solidFill>
                <a:srgbClr val="F5898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43" name="işļíďè">
                <a:extLst>
                  <a:ext uri="{FF2B5EF4-FFF2-40B4-BE49-F238E27FC236}">
                    <a16:creationId xmlns:a16="http://schemas.microsoft.com/office/drawing/2014/main" id="{DB7F7097-A7F8-46B6-A23C-445A9FDF0F09}"/>
                  </a:ext>
                </a:extLst>
              </p:cNvPr>
              <p:cNvSpPr/>
              <p:nvPr/>
            </p:nvSpPr>
            <p:spPr>
              <a:xfrm>
                <a:off x="5684805" y="2518219"/>
                <a:ext cx="1037082" cy="644366"/>
              </a:xfrm>
              <a:custGeom>
                <a:avLst/>
                <a:gdLst>
                  <a:gd name="connsiteX0" fmla="*/ 518541 w 1037082"/>
                  <a:gd name="connsiteY0" fmla="*/ 0 h 644366"/>
                  <a:gd name="connsiteX1" fmla="*/ 0 w 1037082"/>
                  <a:gd name="connsiteY1" fmla="*/ 495109 h 644366"/>
                  <a:gd name="connsiteX2" fmla="*/ 518541 w 1037082"/>
                  <a:gd name="connsiteY2" fmla="*/ 644366 h 644366"/>
                  <a:gd name="connsiteX3" fmla="*/ 1037082 w 1037082"/>
                  <a:gd name="connsiteY3" fmla="*/ 495109 h 644366"/>
                  <a:gd name="connsiteX4" fmla="*/ 518541 w 1037082"/>
                  <a:gd name="connsiteY4" fmla="*/ 0 h 64436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037082" h="644366">
                    <a:moveTo>
                      <a:pt x="518541" y="0"/>
                    </a:moveTo>
                    <a:cubicBezTo>
                      <a:pt x="239935" y="0"/>
                      <a:pt x="12573" y="219551"/>
                      <a:pt x="0" y="495109"/>
                    </a:cubicBezTo>
                    <a:cubicBezTo>
                      <a:pt x="150209" y="589693"/>
                      <a:pt x="327946" y="644366"/>
                      <a:pt x="518541" y="644366"/>
                    </a:cubicBezTo>
                    <a:cubicBezTo>
                      <a:pt x="709136" y="644366"/>
                      <a:pt x="886873" y="589597"/>
                      <a:pt x="1037082" y="495109"/>
                    </a:cubicBezTo>
                    <a:cubicBezTo>
                      <a:pt x="1024414" y="219551"/>
                      <a:pt x="797147" y="0"/>
                      <a:pt x="518541" y="0"/>
                    </a:cubicBezTo>
                    <a:close/>
                  </a:path>
                </a:pathLst>
              </a:custGeom>
              <a:solidFill>
                <a:srgbClr val="D19163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44" name="iṣ1iḑe">
                <a:extLst>
                  <a:ext uri="{FF2B5EF4-FFF2-40B4-BE49-F238E27FC236}">
                    <a16:creationId xmlns:a16="http://schemas.microsoft.com/office/drawing/2014/main" id="{8BC64643-302B-4C12-A970-542F3E8FC44B}"/>
                  </a:ext>
                </a:extLst>
              </p:cNvPr>
              <p:cNvSpPr/>
              <p:nvPr/>
            </p:nvSpPr>
            <p:spPr>
              <a:xfrm>
                <a:off x="6225348" y="1610201"/>
                <a:ext cx="51054" cy="51054"/>
              </a:xfrm>
              <a:custGeom>
                <a:avLst/>
                <a:gdLst>
                  <a:gd name="connsiteX0" fmla="*/ 51054 w 51054"/>
                  <a:gd name="connsiteY0" fmla="*/ 25527 h 51054"/>
                  <a:gd name="connsiteX1" fmla="*/ 25527 w 51054"/>
                  <a:gd name="connsiteY1" fmla="*/ 51054 h 51054"/>
                  <a:gd name="connsiteX2" fmla="*/ 0 w 51054"/>
                  <a:gd name="connsiteY2" fmla="*/ 25527 h 51054"/>
                  <a:gd name="connsiteX3" fmla="*/ 25527 w 51054"/>
                  <a:gd name="connsiteY3" fmla="*/ 0 h 51054"/>
                  <a:gd name="connsiteX4" fmla="*/ 51054 w 51054"/>
                  <a:gd name="connsiteY4" fmla="*/ 25527 h 510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1054" h="51054">
                    <a:moveTo>
                      <a:pt x="51054" y="25527"/>
                    </a:moveTo>
                    <a:cubicBezTo>
                      <a:pt x="51054" y="39624"/>
                      <a:pt x="39624" y="51054"/>
                      <a:pt x="25527" y="51054"/>
                    </a:cubicBezTo>
                    <a:cubicBezTo>
                      <a:pt x="11430" y="51054"/>
                      <a:pt x="0" y="39624"/>
                      <a:pt x="0" y="25527"/>
                    </a:cubicBezTo>
                    <a:cubicBezTo>
                      <a:pt x="0" y="11430"/>
                      <a:pt x="11430" y="0"/>
                      <a:pt x="25527" y="0"/>
                    </a:cubicBezTo>
                    <a:cubicBezTo>
                      <a:pt x="39624" y="0"/>
                      <a:pt x="51054" y="11430"/>
                      <a:pt x="51054" y="25527"/>
                    </a:cubicBezTo>
                    <a:close/>
                  </a:path>
                </a:pathLst>
              </a:custGeom>
              <a:solidFill>
                <a:srgbClr val="F2EED7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45" name="íṣḻîḓe">
                <a:extLst>
                  <a:ext uri="{FF2B5EF4-FFF2-40B4-BE49-F238E27FC236}">
                    <a16:creationId xmlns:a16="http://schemas.microsoft.com/office/drawing/2014/main" id="{AB8DECA2-07F2-42E9-96DE-EFED4F98F909}"/>
                  </a:ext>
                </a:extLst>
              </p:cNvPr>
              <p:cNvSpPr/>
              <p:nvPr/>
            </p:nvSpPr>
            <p:spPr>
              <a:xfrm>
                <a:off x="5965182" y="1610201"/>
                <a:ext cx="421329" cy="166577"/>
              </a:xfrm>
              <a:custGeom>
                <a:avLst/>
                <a:gdLst>
                  <a:gd name="connsiteX0" fmla="*/ 421329 w 421329"/>
                  <a:gd name="connsiteY0" fmla="*/ 92678 h 166577"/>
                  <a:gd name="connsiteX1" fmla="*/ 47949 w 421329"/>
                  <a:gd name="connsiteY1" fmla="*/ 0 h 166577"/>
                  <a:gd name="connsiteX2" fmla="*/ 2325 w 421329"/>
                  <a:gd name="connsiteY2" fmla="*/ 85915 h 166577"/>
                  <a:gd name="connsiteX3" fmla="*/ 421329 w 421329"/>
                  <a:gd name="connsiteY3" fmla="*/ 92678 h 1665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21329" h="166577">
                    <a:moveTo>
                      <a:pt x="421329" y="92678"/>
                    </a:moveTo>
                    <a:cubicBezTo>
                      <a:pt x="421329" y="92678"/>
                      <a:pt x="174251" y="202787"/>
                      <a:pt x="47949" y="0"/>
                    </a:cubicBezTo>
                    <a:cubicBezTo>
                      <a:pt x="47949" y="0"/>
                      <a:pt x="-12439" y="41624"/>
                      <a:pt x="2325" y="85915"/>
                    </a:cubicBezTo>
                    <a:cubicBezTo>
                      <a:pt x="17088" y="130302"/>
                      <a:pt x="270930" y="239077"/>
                      <a:pt x="421329" y="92678"/>
                    </a:cubicBezTo>
                    <a:close/>
                  </a:path>
                </a:pathLst>
              </a:custGeom>
              <a:solidFill>
                <a:srgbClr val="B53A3C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46" name="işľïḋê">
                <a:extLst>
                  <a:ext uri="{FF2B5EF4-FFF2-40B4-BE49-F238E27FC236}">
                    <a16:creationId xmlns:a16="http://schemas.microsoft.com/office/drawing/2014/main" id="{DD4D9808-803B-4FCF-A5FA-CB683ED83AC7}"/>
                  </a:ext>
                </a:extLst>
              </p:cNvPr>
              <p:cNvSpPr/>
              <p:nvPr/>
            </p:nvSpPr>
            <p:spPr>
              <a:xfrm>
                <a:off x="5138355" y="1690020"/>
                <a:ext cx="162687" cy="162687"/>
              </a:xfrm>
              <a:custGeom>
                <a:avLst/>
                <a:gdLst>
                  <a:gd name="connsiteX0" fmla="*/ 162687 w 162687"/>
                  <a:gd name="connsiteY0" fmla="*/ 81344 h 162687"/>
                  <a:gd name="connsiteX1" fmla="*/ 81344 w 162687"/>
                  <a:gd name="connsiteY1" fmla="*/ 162687 h 162687"/>
                  <a:gd name="connsiteX2" fmla="*/ 0 w 162687"/>
                  <a:gd name="connsiteY2" fmla="*/ 81344 h 162687"/>
                  <a:gd name="connsiteX3" fmla="*/ 81344 w 162687"/>
                  <a:gd name="connsiteY3" fmla="*/ 0 h 162687"/>
                  <a:gd name="connsiteX4" fmla="*/ 162687 w 162687"/>
                  <a:gd name="connsiteY4" fmla="*/ 81344 h 1626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2687" h="162687">
                    <a:moveTo>
                      <a:pt x="162687" y="81344"/>
                    </a:moveTo>
                    <a:cubicBezTo>
                      <a:pt x="162687" y="126302"/>
                      <a:pt x="126302" y="162687"/>
                      <a:pt x="81344" y="162687"/>
                    </a:cubicBezTo>
                    <a:cubicBezTo>
                      <a:pt x="36386" y="162687"/>
                      <a:pt x="0" y="126302"/>
                      <a:pt x="0" y="81344"/>
                    </a:cubicBezTo>
                    <a:cubicBezTo>
                      <a:pt x="0" y="36386"/>
                      <a:pt x="36481" y="0"/>
                      <a:pt x="81344" y="0"/>
                    </a:cubicBezTo>
                    <a:cubicBezTo>
                      <a:pt x="126206" y="-95"/>
                      <a:pt x="162687" y="36386"/>
                      <a:pt x="162687" y="81344"/>
                    </a:cubicBezTo>
                    <a:close/>
                  </a:path>
                </a:pathLst>
              </a:custGeom>
              <a:solidFill>
                <a:srgbClr val="F5898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47" name="îṥḻïḑè">
                <a:extLst>
                  <a:ext uri="{FF2B5EF4-FFF2-40B4-BE49-F238E27FC236}">
                    <a16:creationId xmlns:a16="http://schemas.microsoft.com/office/drawing/2014/main" id="{63DE0920-0B27-4EFF-8522-233B69A70923}"/>
                  </a:ext>
                </a:extLst>
              </p:cNvPr>
              <p:cNvSpPr/>
              <p:nvPr/>
            </p:nvSpPr>
            <p:spPr>
              <a:xfrm>
                <a:off x="7038403" y="1600200"/>
                <a:ext cx="298513" cy="298513"/>
              </a:xfrm>
              <a:custGeom>
                <a:avLst/>
                <a:gdLst>
                  <a:gd name="connsiteX0" fmla="*/ 0 w 298513"/>
                  <a:gd name="connsiteY0" fmla="*/ 149257 h 298513"/>
                  <a:gd name="connsiteX1" fmla="*/ 149257 w 298513"/>
                  <a:gd name="connsiteY1" fmla="*/ 298513 h 298513"/>
                  <a:gd name="connsiteX2" fmla="*/ 298513 w 298513"/>
                  <a:gd name="connsiteY2" fmla="*/ 149257 h 298513"/>
                  <a:gd name="connsiteX3" fmla="*/ 149257 w 298513"/>
                  <a:gd name="connsiteY3" fmla="*/ 0 h 298513"/>
                  <a:gd name="connsiteX4" fmla="*/ 0 w 298513"/>
                  <a:gd name="connsiteY4" fmla="*/ 149257 h 2985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98513" h="298513">
                    <a:moveTo>
                      <a:pt x="0" y="149257"/>
                    </a:moveTo>
                    <a:cubicBezTo>
                      <a:pt x="0" y="231648"/>
                      <a:pt x="66865" y="298513"/>
                      <a:pt x="149257" y="298513"/>
                    </a:cubicBezTo>
                    <a:cubicBezTo>
                      <a:pt x="231648" y="298513"/>
                      <a:pt x="298513" y="231648"/>
                      <a:pt x="298513" y="149257"/>
                    </a:cubicBezTo>
                    <a:cubicBezTo>
                      <a:pt x="298513" y="66865"/>
                      <a:pt x="231648" y="0"/>
                      <a:pt x="149257" y="0"/>
                    </a:cubicBezTo>
                    <a:cubicBezTo>
                      <a:pt x="66770" y="0"/>
                      <a:pt x="0" y="66865"/>
                      <a:pt x="0" y="149257"/>
                    </a:cubicBezTo>
                    <a:close/>
                  </a:path>
                </a:pathLst>
              </a:custGeom>
              <a:solidFill>
                <a:srgbClr val="AA5535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48" name="íṧlïdé">
                <a:extLst>
                  <a:ext uri="{FF2B5EF4-FFF2-40B4-BE49-F238E27FC236}">
                    <a16:creationId xmlns:a16="http://schemas.microsoft.com/office/drawing/2014/main" id="{6D089B95-1FF7-4190-A9D8-0353809A759A}"/>
                  </a:ext>
                </a:extLst>
              </p:cNvPr>
              <p:cNvSpPr/>
              <p:nvPr/>
            </p:nvSpPr>
            <p:spPr>
              <a:xfrm>
                <a:off x="7081455" y="1690020"/>
                <a:ext cx="162687" cy="162687"/>
              </a:xfrm>
              <a:custGeom>
                <a:avLst/>
                <a:gdLst>
                  <a:gd name="connsiteX0" fmla="*/ 0 w 162687"/>
                  <a:gd name="connsiteY0" fmla="*/ 81344 h 162687"/>
                  <a:gd name="connsiteX1" fmla="*/ 81344 w 162687"/>
                  <a:gd name="connsiteY1" fmla="*/ 162687 h 162687"/>
                  <a:gd name="connsiteX2" fmla="*/ 162687 w 162687"/>
                  <a:gd name="connsiteY2" fmla="*/ 81344 h 162687"/>
                  <a:gd name="connsiteX3" fmla="*/ 81344 w 162687"/>
                  <a:gd name="connsiteY3" fmla="*/ 0 h 162687"/>
                  <a:gd name="connsiteX4" fmla="*/ 0 w 162687"/>
                  <a:gd name="connsiteY4" fmla="*/ 81344 h 1626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2687" h="162687">
                    <a:moveTo>
                      <a:pt x="0" y="81344"/>
                    </a:moveTo>
                    <a:cubicBezTo>
                      <a:pt x="0" y="126302"/>
                      <a:pt x="36386" y="162687"/>
                      <a:pt x="81344" y="162687"/>
                    </a:cubicBezTo>
                    <a:cubicBezTo>
                      <a:pt x="126302" y="162687"/>
                      <a:pt x="162687" y="126302"/>
                      <a:pt x="162687" y="81344"/>
                    </a:cubicBezTo>
                    <a:cubicBezTo>
                      <a:pt x="162687" y="36386"/>
                      <a:pt x="126206" y="0"/>
                      <a:pt x="81344" y="0"/>
                    </a:cubicBezTo>
                    <a:cubicBezTo>
                      <a:pt x="36386" y="-95"/>
                      <a:pt x="0" y="36386"/>
                      <a:pt x="0" y="81344"/>
                    </a:cubicBezTo>
                    <a:close/>
                  </a:path>
                </a:pathLst>
              </a:custGeom>
              <a:solidFill>
                <a:srgbClr val="F5898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grpSp>
            <p:nvGrpSpPr>
              <p:cNvPr id="49" name="ísḻïḋe">
                <a:extLst>
                  <a:ext uri="{FF2B5EF4-FFF2-40B4-BE49-F238E27FC236}">
                    <a16:creationId xmlns:a16="http://schemas.microsoft.com/office/drawing/2014/main" id="{0A6AB506-8448-40AA-BB53-EECD8469FDC4}"/>
                  </a:ext>
                </a:extLst>
              </p:cNvPr>
              <p:cNvGrpSpPr/>
              <p:nvPr/>
            </p:nvGrpSpPr>
            <p:grpSpPr>
              <a:xfrm>
                <a:off x="6359842" y="1270635"/>
                <a:ext cx="753468" cy="1174813"/>
                <a:chOff x="6359842" y="1270635"/>
                <a:chExt cx="753468" cy="1174813"/>
              </a:xfrm>
              <a:solidFill>
                <a:srgbClr val="F2EED7">
                  <a:alpha val="50000"/>
                </a:srgbClr>
              </a:solidFill>
            </p:grpSpPr>
            <p:sp>
              <p:nvSpPr>
                <p:cNvPr id="64" name="ïşlïdè">
                  <a:extLst>
                    <a:ext uri="{FF2B5EF4-FFF2-40B4-BE49-F238E27FC236}">
                      <a16:creationId xmlns:a16="http://schemas.microsoft.com/office/drawing/2014/main" id="{6DDFAC98-DA15-4B35-8098-BF7DCE7AB51A}"/>
                    </a:ext>
                  </a:extLst>
                </p:cNvPr>
                <p:cNvSpPr/>
                <p:nvPr/>
              </p:nvSpPr>
              <p:spPr>
                <a:xfrm>
                  <a:off x="6498243" y="1318168"/>
                  <a:ext cx="615066" cy="1127280"/>
                </a:xfrm>
                <a:custGeom>
                  <a:avLst/>
                  <a:gdLst>
                    <a:gd name="connsiteX0" fmla="*/ 521205 w 615066"/>
                    <a:gd name="connsiteY0" fmla="*/ 1127280 h 1127280"/>
                    <a:gd name="connsiteX1" fmla="*/ 506346 w 615066"/>
                    <a:gd name="connsiteY1" fmla="*/ 1124613 h 1127280"/>
                    <a:gd name="connsiteX2" fmla="*/ 481009 w 615066"/>
                    <a:gd name="connsiteY2" fmla="*/ 1069559 h 1127280"/>
                    <a:gd name="connsiteX3" fmla="*/ 458816 w 615066"/>
                    <a:gd name="connsiteY3" fmla="*/ 482438 h 1127280"/>
                    <a:gd name="connsiteX4" fmla="*/ 28000 w 615066"/>
                    <a:gd name="connsiteY4" fmla="*/ 83055 h 1127280"/>
                    <a:gd name="connsiteX5" fmla="*/ 2664 w 615066"/>
                    <a:gd name="connsiteY5" fmla="*/ 28000 h 1127280"/>
                    <a:gd name="connsiteX6" fmla="*/ 57718 w 615066"/>
                    <a:gd name="connsiteY6" fmla="*/ 2663 h 1127280"/>
                    <a:gd name="connsiteX7" fmla="*/ 536730 w 615066"/>
                    <a:gd name="connsiteY7" fmla="*/ 446719 h 1127280"/>
                    <a:gd name="connsiteX8" fmla="*/ 561400 w 615066"/>
                    <a:gd name="connsiteY8" fmla="*/ 1099372 h 1127280"/>
                    <a:gd name="connsiteX9" fmla="*/ 521205 w 615066"/>
                    <a:gd name="connsiteY9" fmla="*/ 1127280 h 11272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615066" h="1127280">
                      <a:moveTo>
                        <a:pt x="521205" y="1127280"/>
                      </a:moveTo>
                      <a:cubicBezTo>
                        <a:pt x="516251" y="1127280"/>
                        <a:pt x="511203" y="1126423"/>
                        <a:pt x="506346" y="1124613"/>
                      </a:cubicBezTo>
                      <a:cubicBezTo>
                        <a:pt x="484152" y="1116422"/>
                        <a:pt x="472817" y="1091752"/>
                        <a:pt x="481009" y="1069559"/>
                      </a:cubicBezTo>
                      <a:cubicBezTo>
                        <a:pt x="552256" y="877249"/>
                        <a:pt x="544350" y="668747"/>
                        <a:pt x="458816" y="482438"/>
                      </a:cubicBezTo>
                      <a:cubicBezTo>
                        <a:pt x="373281" y="296129"/>
                        <a:pt x="220215" y="154206"/>
                        <a:pt x="28000" y="83055"/>
                      </a:cubicBezTo>
                      <a:cubicBezTo>
                        <a:pt x="5807" y="74863"/>
                        <a:pt x="-5528" y="50193"/>
                        <a:pt x="2664" y="28000"/>
                      </a:cubicBezTo>
                      <a:cubicBezTo>
                        <a:pt x="10855" y="5807"/>
                        <a:pt x="35525" y="-5528"/>
                        <a:pt x="57718" y="2663"/>
                      </a:cubicBezTo>
                      <a:cubicBezTo>
                        <a:pt x="271459" y="81816"/>
                        <a:pt x="441575" y="239550"/>
                        <a:pt x="536730" y="446719"/>
                      </a:cubicBezTo>
                      <a:cubicBezTo>
                        <a:pt x="631885" y="653888"/>
                        <a:pt x="640648" y="885631"/>
                        <a:pt x="561400" y="1099372"/>
                      </a:cubicBezTo>
                      <a:cubicBezTo>
                        <a:pt x="555018" y="1116612"/>
                        <a:pt x="538635" y="1127280"/>
                        <a:pt x="521205" y="1127280"/>
                      </a:cubicBezTo>
                      <a:close/>
                    </a:path>
                  </a:pathLst>
                </a:custGeom>
                <a:solidFill>
                  <a:srgbClr val="F2EED7">
                    <a:alpha val="50000"/>
                  </a:srgbClr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  <p:sp>
              <p:nvSpPr>
                <p:cNvPr id="65" name="islíḋe">
                  <a:extLst>
                    <a:ext uri="{FF2B5EF4-FFF2-40B4-BE49-F238E27FC236}">
                      <a16:creationId xmlns:a16="http://schemas.microsoft.com/office/drawing/2014/main" id="{FF5C4174-B118-4583-A714-8F430549C80F}"/>
                    </a:ext>
                  </a:extLst>
                </p:cNvPr>
                <p:cNvSpPr/>
                <p:nvPr/>
              </p:nvSpPr>
              <p:spPr>
                <a:xfrm>
                  <a:off x="6359842" y="1270635"/>
                  <a:ext cx="99821" cy="99821"/>
                </a:xfrm>
                <a:custGeom>
                  <a:avLst/>
                  <a:gdLst>
                    <a:gd name="connsiteX0" fmla="*/ 99822 w 99821"/>
                    <a:gd name="connsiteY0" fmla="*/ 49911 h 99821"/>
                    <a:gd name="connsiteX1" fmla="*/ 49911 w 99821"/>
                    <a:gd name="connsiteY1" fmla="*/ 99822 h 99821"/>
                    <a:gd name="connsiteX2" fmla="*/ 0 w 99821"/>
                    <a:gd name="connsiteY2" fmla="*/ 49911 h 99821"/>
                    <a:gd name="connsiteX3" fmla="*/ 49911 w 99821"/>
                    <a:gd name="connsiteY3" fmla="*/ 0 h 99821"/>
                    <a:gd name="connsiteX4" fmla="*/ 99822 w 99821"/>
                    <a:gd name="connsiteY4" fmla="*/ 49911 h 9982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99821" h="99821">
                      <a:moveTo>
                        <a:pt x="99822" y="49911"/>
                      </a:moveTo>
                      <a:cubicBezTo>
                        <a:pt x="99822" y="77438"/>
                        <a:pt x="77438" y="99822"/>
                        <a:pt x="49911" y="99822"/>
                      </a:cubicBezTo>
                      <a:cubicBezTo>
                        <a:pt x="22384" y="99822"/>
                        <a:pt x="0" y="77438"/>
                        <a:pt x="0" y="49911"/>
                      </a:cubicBezTo>
                      <a:cubicBezTo>
                        <a:pt x="0" y="22384"/>
                        <a:pt x="22384" y="0"/>
                        <a:pt x="49911" y="0"/>
                      </a:cubicBezTo>
                      <a:cubicBezTo>
                        <a:pt x="77438" y="0"/>
                        <a:pt x="99822" y="22384"/>
                        <a:pt x="99822" y="49911"/>
                      </a:cubicBezTo>
                      <a:close/>
                    </a:path>
                  </a:pathLst>
                </a:custGeom>
                <a:solidFill>
                  <a:srgbClr val="F2EED7">
                    <a:alpha val="50000"/>
                  </a:srgbClr>
                </a:solidFill>
                <a:ln w="9525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endParaRPr lang="zh-CN" altLang="en-US"/>
                </a:p>
              </p:txBody>
            </p:sp>
          </p:grpSp>
          <p:sp>
            <p:nvSpPr>
              <p:cNvPr id="50" name="í$ḷïḑè">
                <a:extLst>
                  <a:ext uri="{FF2B5EF4-FFF2-40B4-BE49-F238E27FC236}">
                    <a16:creationId xmlns:a16="http://schemas.microsoft.com/office/drawing/2014/main" id="{34CAA0EB-27F8-4441-B5BF-D6C37F7E5757}"/>
                  </a:ext>
                </a:extLst>
              </p:cNvPr>
              <p:cNvSpPr/>
              <p:nvPr/>
            </p:nvSpPr>
            <p:spPr>
              <a:xfrm>
                <a:off x="5214365" y="2067687"/>
                <a:ext cx="1977770" cy="398049"/>
              </a:xfrm>
              <a:custGeom>
                <a:avLst/>
                <a:gdLst>
                  <a:gd name="connsiteX0" fmla="*/ 1976533 w 1977770"/>
                  <a:gd name="connsiteY0" fmla="*/ 0 h 398049"/>
                  <a:gd name="connsiteX1" fmla="*/ 1238 w 1977770"/>
                  <a:gd name="connsiteY1" fmla="*/ 0 h 398049"/>
                  <a:gd name="connsiteX2" fmla="*/ 0 w 1977770"/>
                  <a:gd name="connsiteY2" fmla="*/ 48577 h 398049"/>
                  <a:gd name="connsiteX3" fmla="*/ 65532 w 1977770"/>
                  <a:gd name="connsiteY3" fmla="*/ 398050 h 398049"/>
                  <a:gd name="connsiteX4" fmla="*/ 1912239 w 1977770"/>
                  <a:gd name="connsiteY4" fmla="*/ 398050 h 398049"/>
                  <a:gd name="connsiteX5" fmla="*/ 1977771 w 1977770"/>
                  <a:gd name="connsiteY5" fmla="*/ 48577 h 398049"/>
                  <a:gd name="connsiteX6" fmla="*/ 1976533 w 1977770"/>
                  <a:gd name="connsiteY6" fmla="*/ 0 h 3980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977770" h="398049">
                    <a:moveTo>
                      <a:pt x="1976533" y="0"/>
                    </a:moveTo>
                    <a:lnTo>
                      <a:pt x="1238" y="0"/>
                    </a:lnTo>
                    <a:cubicBezTo>
                      <a:pt x="476" y="16097"/>
                      <a:pt x="0" y="32290"/>
                      <a:pt x="0" y="48577"/>
                    </a:cubicBezTo>
                    <a:cubicBezTo>
                      <a:pt x="0" y="171736"/>
                      <a:pt x="23241" y="289560"/>
                      <a:pt x="65532" y="398050"/>
                    </a:cubicBezTo>
                    <a:lnTo>
                      <a:pt x="1912239" y="398050"/>
                    </a:lnTo>
                    <a:cubicBezTo>
                      <a:pt x="1954530" y="289560"/>
                      <a:pt x="1977771" y="171736"/>
                      <a:pt x="1977771" y="48577"/>
                    </a:cubicBezTo>
                    <a:cubicBezTo>
                      <a:pt x="1977676" y="32290"/>
                      <a:pt x="1977295" y="16097"/>
                      <a:pt x="1976533" y="0"/>
                    </a:cubicBezTo>
                    <a:close/>
                  </a:path>
                </a:pathLst>
              </a:custGeom>
              <a:solidFill>
                <a:srgbClr val="88A54A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1" name="íśḻîḓê">
                <a:extLst>
                  <a:ext uri="{FF2B5EF4-FFF2-40B4-BE49-F238E27FC236}">
                    <a16:creationId xmlns:a16="http://schemas.microsoft.com/office/drawing/2014/main" id="{1448E076-5F16-49B2-BF40-2CF1AE429BE7}"/>
                  </a:ext>
                </a:extLst>
              </p:cNvPr>
              <p:cNvSpPr/>
              <p:nvPr/>
            </p:nvSpPr>
            <p:spPr>
              <a:xfrm>
                <a:off x="6121050" y="2000916"/>
                <a:ext cx="549783" cy="919924"/>
              </a:xfrm>
              <a:custGeom>
                <a:avLst/>
                <a:gdLst>
                  <a:gd name="connsiteX0" fmla="*/ 549783 w 549783"/>
                  <a:gd name="connsiteY0" fmla="*/ 807720 h 919924"/>
                  <a:gd name="connsiteX1" fmla="*/ 361664 w 549783"/>
                  <a:gd name="connsiteY1" fmla="*/ 132778 h 919924"/>
                  <a:gd name="connsiteX2" fmla="*/ 331565 w 549783"/>
                  <a:gd name="connsiteY2" fmla="*/ 0 h 919924"/>
                  <a:gd name="connsiteX3" fmla="*/ 0 w 549783"/>
                  <a:gd name="connsiteY3" fmla="*/ 41434 h 919924"/>
                  <a:gd name="connsiteX4" fmla="*/ 118586 w 549783"/>
                  <a:gd name="connsiteY4" fmla="*/ 919924 h 9199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549783" h="919924">
                    <a:moveTo>
                      <a:pt x="549783" y="807720"/>
                    </a:moveTo>
                    <a:lnTo>
                      <a:pt x="361664" y="132778"/>
                    </a:lnTo>
                    <a:lnTo>
                      <a:pt x="331565" y="0"/>
                    </a:lnTo>
                    <a:lnTo>
                      <a:pt x="0" y="41434"/>
                    </a:lnTo>
                    <a:lnTo>
                      <a:pt x="118586" y="919924"/>
                    </a:lnTo>
                    <a:close/>
                  </a:path>
                </a:pathLst>
              </a:custGeom>
              <a:solidFill>
                <a:srgbClr val="88A54A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2" name="ïṥľíḋé">
                <a:extLst>
                  <a:ext uri="{FF2B5EF4-FFF2-40B4-BE49-F238E27FC236}">
                    <a16:creationId xmlns:a16="http://schemas.microsoft.com/office/drawing/2014/main" id="{48DB4BB9-BBDD-4374-98BD-5D516B70AB9E}"/>
                  </a:ext>
                </a:extLst>
              </p:cNvPr>
              <p:cNvSpPr/>
              <p:nvPr/>
            </p:nvSpPr>
            <p:spPr>
              <a:xfrm>
                <a:off x="6109810" y="2404967"/>
                <a:ext cx="475773" cy="140493"/>
              </a:xfrm>
              <a:custGeom>
                <a:avLst/>
                <a:gdLst>
                  <a:gd name="connsiteX0" fmla="*/ 0 w 475773"/>
                  <a:gd name="connsiteY0" fmla="*/ 140494 h 140493"/>
                  <a:gd name="connsiteX1" fmla="*/ 475774 w 475773"/>
                  <a:gd name="connsiteY1" fmla="*/ 0 h 14049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75773" h="140493">
                    <a:moveTo>
                      <a:pt x="0" y="140494"/>
                    </a:moveTo>
                    <a:lnTo>
                      <a:pt x="475774" y="0"/>
                    </a:lnTo>
                  </a:path>
                </a:pathLst>
              </a:custGeom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3" name="í$ḷide">
                <a:extLst>
                  <a:ext uri="{FF2B5EF4-FFF2-40B4-BE49-F238E27FC236}">
                    <a16:creationId xmlns:a16="http://schemas.microsoft.com/office/drawing/2014/main" id="{F48D7B00-2E52-4EE0-9627-0AF52BFFC76F}"/>
                  </a:ext>
                </a:extLst>
              </p:cNvPr>
              <p:cNvSpPr/>
              <p:nvPr/>
            </p:nvSpPr>
            <p:spPr>
              <a:xfrm>
                <a:off x="6175438" y="2581179"/>
                <a:ext cx="546925" cy="209550"/>
              </a:xfrm>
              <a:custGeom>
                <a:avLst/>
                <a:gdLst>
                  <a:gd name="connsiteX0" fmla="*/ 0 w 546925"/>
                  <a:gd name="connsiteY0" fmla="*/ 209550 h 209550"/>
                  <a:gd name="connsiteX1" fmla="*/ 546926 w 546925"/>
                  <a:gd name="connsiteY1" fmla="*/ 0 h 2095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46925" h="209550">
                    <a:moveTo>
                      <a:pt x="0" y="209550"/>
                    </a:moveTo>
                    <a:lnTo>
                      <a:pt x="546926" y="0"/>
                    </a:lnTo>
                  </a:path>
                </a:pathLst>
              </a:custGeom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4" name="îšļîḓè">
                <a:extLst>
                  <a:ext uri="{FF2B5EF4-FFF2-40B4-BE49-F238E27FC236}">
                    <a16:creationId xmlns:a16="http://schemas.microsoft.com/office/drawing/2014/main" id="{A7E012AA-273F-4E8B-B0E1-894B4E4C2B33}"/>
                  </a:ext>
                </a:extLst>
              </p:cNvPr>
              <p:cNvSpPr/>
              <p:nvPr/>
            </p:nvSpPr>
            <p:spPr>
              <a:xfrm>
                <a:off x="6182486" y="2404967"/>
                <a:ext cx="439578" cy="368808"/>
              </a:xfrm>
              <a:custGeom>
                <a:avLst/>
                <a:gdLst>
                  <a:gd name="connsiteX0" fmla="*/ 375857 w 439578"/>
                  <a:gd name="connsiteY0" fmla="*/ 0 h 368808"/>
                  <a:gd name="connsiteX1" fmla="*/ 0 w 439578"/>
                  <a:gd name="connsiteY1" fmla="*/ 118015 h 368808"/>
                  <a:gd name="connsiteX2" fmla="*/ 33814 w 439578"/>
                  <a:gd name="connsiteY2" fmla="*/ 368808 h 368808"/>
                  <a:gd name="connsiteX3" fmla="*/ 439579 w 439578"/>
                  <a:gd name="connsiteY3" fmla="*/ 228600 h 3688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39578" h="368808">
                    <a:moveTo>
                      <a:pt x="375857" y="0"/>
                    </a:moveTo>
                    <a:lnTo>
                      <a:pt x="0" y="118015"/>
                    </a:lnTo>
                    <a:lnTo>
                      <a:pt x="33814" y="368808"/>
                    </a:lnTo>
                    <a:lnTo>
                      <a:pt x="439579" y="228600"/>
                    </a:lnTo>
                    <a:close/>
                  </a:path>
                </a:pathLst>
              </a:custGeom>
              <a:solidFill>
                <a:srgbClr val="637B36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5" name="işľïḍê">
                <a:extLst>
                  <a:ext uri="{FF2B5EF4-FFF2-40B4-BE49-F238E27FC236}">
                    <a16:creationId xmlns:a16="http://schemas.microsoft.com/office/drawing/2014/main" id="{8D77271D-3B09-4EDE-B3DB-7ED0CFEFEB9E}"/>
                  </a:ext>
                </a:extLst>
              </p:cNvPr>
              <p:cNvSpPr/>
              <p:nvPr/>
            </p:nvSpPr>
            <p:spPr>
              <a:xfrm>
                <a:off x="5550312" y="2027777"/>
                <a:ext cx="573405" cy="894873"/>
              </a:xfrm>
              <a:custGeom>
                <a:avLst/>
                <a:gdLst>
                  <a:gd name="connsiteX0" fmla="*/ 205359 w 573405"/>
                  <a:gd name="connsiteY0" fmla="*/ 0 h 894873"/>
                  <a:gd name="connsiteX1" fmla="*/ 573405 w 573405"/>
                  <a:gd name="connsiteY1" fmla="*/ 20003 h 894873"/>
                  <a:gd name="connsiteX2" fmla="*/ 460248 w 573405"/>
                  <a:gd name="connsiteY2" fmla="*/ 894874 h 894873"/>
                  <a:gd name="connsiteX3" fmla="*/ 0 w 573405"/>
                  <a:gd name="connsiteY3" fmla="*/ 799814 h 89487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73405" h="894873">
                    <a:moveTo>
                      <a:pt x="205359" y="0"/>
                    </a:moveTo>
                    <a:lnTo>
                      <a:pt x="573405" y="20003"/>
                    </a:lnTo>
                    <a:lnTo>
                      <a:pt x="460248" y="894874"/>
                    </a:lnTo>
                    <a:lnTo>
                      <a:pt x="0" y="799814"/>
                    </a:lnTo>
                    <a:close/>
                  </a:path>
                </a:pathLst>
              </a:custGeom>
              <a:solidFill>
                <a:srgbClr val="88A54A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6" name="ïṣļîḍê">
                <a:extLst>
                  <a:ext uri="{FF2B5EF4-FFF2-40B4-BE49-F238E27FC236}">
                    <a16:creationId xmlns:a16="http://schemas.microsoft.com/office/drawing/2014/main" id="{A8CCC31D-653D-49CF-8396-EA7F81C738E7}"/>
                  </a:ext>
                </a:extLst>
              </p:cNvPr>
              <p:cNvSpPr/>
              <p:nvPr/>
            </p:nvSpPr>
            <p:spPr>
              <a:xfrm>
                <a:off x="6071044" y="2047779"/>
                <a:ext cx="104393" cy="417956"/>
              </a:xfrm>
              <a:custGeom>
                <a:avLst/>
                <a:gdLst>
                  <a:gd name="connsiteX0" fmla="*/ 104394 w 104393"/>
                  <a:gd name="connsiteY0" fmla="*/ 417957 h 417956"/>
                  <a:gd name="connsiteX1" fmla="*/ 52673 w 104393"/>
                  <a:gd name="connsiteY1" fmla="*/ 0 h 417956"/>
                  <a:gd name="connsiteX2" fmla="*/ 0 w 104393"/>
                  <a:gd name="connsiteY2" fmla="*/ 417957 h 4179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04393" h="417956">
                    <a:moveTo>
                      <a:pt x="104394" y="417957"/>
                    </a:moveTo>
                    <a:lnTo>
                      <a:pt x="52673" y="0"/>
                    </a:lnTo>
                    <a:lnTo>
                      <a:pt x="0" y="417957"/>
                    </a:lnTo>
                    <a:close/>
                  </a:path>
                </a:pathLst>
              </a:custGeom>
              <a:solidFill>
                <a:srgbClr val="637B36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8" name="iślídé">
                <a:extLst>
                  <a:ext uri="{FF2B5EF4-FFF2-40B4-BE49-F238E27FC236}">
                    <a16:creationId xmlns:a16="http://schemas.microsoft.com/office/drawing/2014/main" id="{2EB91BB1-95DD-40BF-8DC6-8BBC4A54CC18}"/>
                  </a:ext>
                </a:extLst>
              </p:cNvPr>
              <p:cNvSpPr/>
              <p:nvPr/>
            </p:nvSpPr>
            <p:spPr>
              <a:xfrm>
                <a:off x="5652134" y="2162651"/>
                <a:ext cx="457676" cy="347186"/>
              </a:xfrm>
              <a:custGeom>
                <a:avLst/>
                <a:gdLst>
                  <a:gd name="connsiteX0" fmla="*/ 457676 w 457676"/>
                  <a:gd name="connsiteY0" fmla="*/ 63532 h 347186"/>
                  <a:gd name="connsiteX1" fmla="*/ 68866 w 457676"/>
                  <a:gd name="connsiteY1" fmla="*/ 0 h 347186"/>
                  <a:gd name="connsiteX2" fmla="*/ 0 w 457676"/>
                  <a:gd name="connsiteY2" fmla="*/ 268414 h 347186"/>
                  <a:gd name="connsiteX3" fmla="*/ 411861 w 457676"/>
                  <a:gd name="connsiteY3" fmla="*/ 347186 h 3471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57676" h="347186">
                    <a:moveTo>
                      <a:pt x="457676" y="63532"/>
                    </a:moveTo>
                    <a:lnTo>
                      <a:pt x="68866" y="0"/>
                    </a:lnTo>
                    <a:lnTo>
                      <a:pt x="0" y="268414"/>
                    </a:lnTo>
                    <a:lnTo>
                      <a:pt x="411861" y="347186"/>
                    </a:lnTo>
                    <a:close/>
                  </a:path>
                </a:pathLst>
              </a:custGeom>
              <a:solidFill>
                <a:srgbClr val="637B36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59" name="ïṧḻîde">
                <a:extLst>
                  <a:ext uri="{FF2B5EF4-FFF2-40B4-BE49-F238E27FC236}">
                    <a16:creationId xmlns:a16="http://schemas.microsoft.com/office/drawing/2014/main" id="{44D18AEF-FA54-44D5-8914-15CD4FA9063E}"/>
                  </a:ext>
                </a:extLst>
              </p:cNvPr>
              <p:cNvSpPr/>
              <p:nvPr/>
            </p:nvSpPr>
            <p:spPr>
              <a:xfrm>
                <a:off x="5550312" y="2640806"/>
                <a:ext cx="488727" cy="281844"/>
              </a:xfrm>
              <a:custGeom>
                <a:avLst/>
                <a:gdLst>
                  <a:gd name="connsiteX0" fmla="*/ 488728 w 488727"/>
                  <a:gd name="connsiteY0" fmla="*/ 61436 h 281844"/>
                  <a:gd name="connsiteX1" fmla="*/ 47911 w 488727"/>
                  <a:gd name="connsiteY1" fmla="*/ 0 h 281844"/>
                  <a:gd name="connsiteX2" fmla="*/ 0 w 488727"/>
                  <a:gd name="connsiteY2" fmla="*/ 186785 h 281844"/>
                  <a:gd name="connsiteX3" fmla="*/ 460248 w 488727"/>
                  <a:gd name="connsiteY3" fmla="*/ 281845 h 2818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88727" h="281844">
                    <a:moveTo>
                      <a:pt x="488728" y="61436"/>
                    </a:moveTo>
                    <a:lnTo>
                      <a:pt x="47911" y="0"/>
                    </a:lnTo>
                    <a:lnTo>
                      <a:pt x="0" y="186785"/>
                    </a:lnTo>
                    <a:lnTo>
                      <a:pt x="460248" y="281845"/>
                    </a:lnTo>
                    <a:close/>
                  </a:path>
                </a:pathLst>
              </a:custGeom>
              <a:solidFill>
                <a:srgbClr val="637B36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0" name="í$1îḋé">
                <a:extLst>
                  <a:ext uri="{FF2B5EF4-FFF2-40B4-BE49-F238E27FC236}">
                    <a16:creationId xmlns:a16="http://schemas.microsoft.com/office/drawing/2014/main" id="{385CD471-BAD6-4E25-8F2D-E9A27177EE85}"/>
                  </a:ext>
                </a:extLst>
              </p:cNvPr>
              <p:cNvSpPr/>
              <p:nvPr/>
            </p:nvSpPr>
            <p:spPr>
              <a:xfrm>
                <a:off x="5210817" y="2067687"/>
                <a:ext cx="307109" cy="398049"/>
              </a:xfrm>
              <a:custGeom>
                <a:avLst/>
                <a:gdLst>
                  <a:gd name="connsiteX0" fmla="*/ 268438 w 307109"/>
                  <a:gd name="connsiteY0" fmla="*/ 0 h 398049"/>
                  <a:gd name="connsiteX1" fmla="*/ 307109 w 307109"/>
                  <a:gd name="connsiteY1" fmla="*/ 398050 h 398049"/>
                  <a:gd name="connsiteX2" fmla="*/ 69080 w 307109"/>
                  <a:gd name="connsiteY2" fmla="*/ 398050 h 398049"/>
                  <a:gd name="connsiteX3" fmla="*/ 4786 w 307109"/>
                  <a:gd name="connsiteY3" fmla="*/ 0 h 398049"/>
                  <a:gd name="connsiteX4" fmla="*/ 268438 w 307109"/>
                  <a:gd name="connsiteY4" fmla="*/ 0 h 3980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07109" h="398049">
                    <a:moveTo>
                      <a:pt x="268438" y="0"/>
                    </a:moveTo>
                    <a:lnTo>
                      <a:pt x="307109" y="398050"/>
                    </a:lnTo>
                    <a:lnTo>
                      <a:pt x="69080" y="398050"/>
                    </a:lnTo>
                    <a:cubicBezTo>
                      <a:pt x="69080" y="398050"/>
                      <a:pt x="-21503" y="220504"/>
                      <a:pt x="4786" y="0"/>
                    </a:cubicBezTo>
                    <a:lnTo>
                      <a:pt x="268438" y="0"/>
                    </a:lnTo>
                    <a:close/>
                  </a:path>
                </a:pathLst>
              </a:custGeom>
              <a:solidFill>
                <a:srgbClr val="637B36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1" name="ïşļíḍê">
                <a:extLst>
                  <a:ext uri="{FF2B5EF4-FFF2-40B4-BE49-F238E27FC236}">
                    <a16:creationId xmlns:a16="http://schemas.microsoft.com/office/drawing/2014/main" id="{AB58AE09-789D-4F7D-93CF-23981D4CCFBD}"/>
                  </a:ext>
                </a:extLst>
              </p:cNvPr>
              <p:cNvSpPr/>
              <p:nvPr/>
            </p:nvSpPr>
            <p:spPr>
              <a:xfrm>
                <a:off x="6617397" y="2067687"/>
                <a:ext cx="301942" cy="398049"/>
              </a:xfrm>
              <a:custGeom>
                <a:avLst/>
                <a:gdLst>
                  <a:gd name="connsiteX0" fmla="*/ 0 w 301942"/>
                  <a:gd name="connsiteY0" fmla="*/ 0 h 398049"/>
                  <a:gd name="connsiteX1" fmla="*/ 0 w 301942"/>
                  <a:gd name="connsiteY1" fmla="*/ 398050 h 398049"/>
                  <a:gd name="connsiteX2" fmla="*/ 301943 w 301942"/>
                  <a:gd name="connsiteY2" fmla="*/ 398050 h 398049"/>
                  <a:gd name="connsiteX3" fmla="*/ 285274 w 301942"/>
                  <a:gd name="connsiteY3" fmla="*/ 0 h 3980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301942" h="398049">
                    <a:moveTo>
                      <a:pt x="0" y="0"/>
                    </a:moveTo>
                    <a:lnTo>
                      <a:pt x="0" y="398050"/>
                    </a:lnTo>
                    <a:lnTo>
                      <a:pt x="301943" y="398050"/>
                    </a:lnTo>
                    <a:lnTo>
                      <a:pt x="285274" y="0"/>
                    </a:lnTo>
                    <a:close/>
                  </a:path>
                </a:pathLst>
              </a:custGeom>
              <a:solidFill>
                <a:srgbClr val="637B36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2" name="íš1íḍé">
                <a:extLst>
                  <a:ext uri="{FF2B5EF4-FFF2-40B4-BE49-F238E27FC236}">
                    <a16:creationId xmlns:a16="http://schemas.microsoft.com/office/drawing/2014/main" id="{16F1988E-A72A-49AB-A715-7A72B50F1EA4}"/>
                  </a:ext>
                </a:extLst>
              </p:cNvPr>
              <p:cNvSpPr/>
              <p:nvPr/>
            </p:nvSpPr>
            <p:spPr>
              <a:xfrm>
                <a:off x="7109650" y="2067591"/>
                <a:ext cx="86105" cy="398144"/>
              </a:xfrm>
              <a:custGeom>
                <a:avLst/>
                <a:gdLst>
                  <a:gd name="connsiteX0" fmla="*/ 22384 w 86105"/>
                  <a:gd name="connsiteY0" fmla="*/ 398145 h 398144"/>
                  <a:gd name="connsiteX1" fmla="*/ 86106 w 86105"/>
                  <a:gd name="connsiteY1" fmla="*/ 49244 h 398144"/>
                  <a:gd name="connsiteX2" fmla="*/ 84867 w 86105"/>
                  <a:gd name="connsiteY2" fmla="*/ 0 h 398144"/>
                  <a:gd name="connsiteX3" fmla="*/ 0 w 86105"/>
                  <a:gd name="connsiteY3" fmla="*/ 0 h 398144"/>
                  <a:gd name="connsiteX4" fmla="*/ 0 w 86105"/>
                  <a:gd name="connsiteY4" fmla="*/ 398050 h 398144"/>
                  <a:gd name="connsiteX5" fmla="*/ 22384 w 86105"/>
                  <a:gd name="connsiteY5" fmla="*/ 398050 h 3981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86105" h="398144">
                    <a:moveTo>
                      <a:pt x="22384" y="398145"/>
                    </a:moveTo>
                    <a:cubicBezTo>
                      <a:pt x="63532" y="289655"/>
                      <a:pt x="86106" y="172117"/>
                      <a:pt x="86106" y="49244"/>
                    </a:cubicBezTo>
                    <a:cubicBezTo>
                      <a:pt x="86106" y="32766"/>
                      <a:pt x="85725" y="16288"/>
                      <a:pt x="84867" y="0"/>
                    </a:cubicBezTo>
                    <a:lnTo>
                      <a:pt x="0" y="0"/>
                    </a:lnTo>
                    <a:lnTo>
                      <a:pt x="0" y="398050"/>
                    </a:lnTo>
                    <a:lnTo>
                      <a:pt x="22384" y="398050"/>
                    </a:lnTo>
                    <a:close/>
                  </a:path>
                </a:pathLst>
              </a:custGeom>
              <a:solidFill>
                <a:srgbClr val="637B36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  <p:sp>
            <p:nvSpPr>
              <p:cNvPr id="63" name="išḻïdê">
                <a:extLst>
                  <a:ext uri="{FF2B5EF4-FFF2-40B4-BE49-F238E27FC236}">
                    <a16:creationId xmlns:a16="http://schemas.microsoft.com/office/drawing/2014/main" id="{70B75AA1-3C5A-4086-B98B-03FC2C029239}"/>
                  </a:ext>
                </a:extLst>
              </p:cNvPr>
              <p:cNvSpPr/>
              <p:nvPr/>
            </p:nvSpPr>
            <p:spPr>
              <a:xfrm>
                <a:off x="6121050" y="2001488"/>
                <a:ext cx="367283" cy="225170"/>
              </a:xfrm>
              <a:custGeom>
                <a:avLst/>
                <a:gdLst>
                  <a:gd name="connsiteX0" fmla="*/ 361664 w 367283"/>
                  <a:gd name="connsiteY0" fmla="*/ 132683 h 225170"/>
                  <a:gd name="connsiteX1" fmla="*/ 331565 w 367283"/>
                  <a:gd name="connsiteY1" fmla="*/ 0 h 225170"/>
                  <a:gd name="connsiteX2" fmla="*/ 0 w 367283"/>
                  <a:gd name="connsiteY2" fmla="*/ 41434 h 225170"/>
                  <a:gd name="connsiteX3" fmla="*/ 24765 w 367283"/>
                  <a:gd name="connsiteY3" fmla="*/ 225171 h 225170"/>
                  <a:gd name="connsiteX4" fmla="*/ 367284 w 367283"/>
                  <a:gd name="connsiteY4" fmla="*/ 152781 h 22517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67283" h="225170">
                    <a:moveTo>
                      <a:pt x="361664" y="132683"/>
                    </a:moveTo>
                    <a:lnTo>
                      <a:pt x="331565" y="0"/>
                    </a:lnTo>
                    <a:lnTo>
                      <a:pt x="0" y="41434"/>
                    </a:lnTo>
                    <a:lnTo>
                      <a:pt x="24765" y="225171"/>
                    </a:lnTo>
                    <a:lnTo>
                      <a:pt x="367284" y="152781"/>
                    </a:lnTo>
                    <a:close/>
                  </a:path>
                </a:pathLst>
              </a:custGeom>
              <a:solidFill>
                <a:srgbClr val="637B36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zh-CN" altLang="en-US"/>
              </a:p>
            </p:txBody>
          </p:sp>
        </p:grpSp>
        <p:sp>
          <p:nvSpPr>
            <p:cNvPr id="32" name="isḷiḑê">
              <a:extLst>
                <a:ext uri="{FF2B5EF4-FFF2-40B4-BE49-F238E27FC236}">
                  <a16:creationId xmlns:a16="http://schemas.microsoft.com/office/drawing/2014/main" id="{E64FF448-809B-4E03-8A3A-39A74064A0F4}"/>
                </a:ext>
              </a:extLst>
            </p:cNvPr>
            <p:cNvSpPr/>
            <p:nvPr/>
          </p:nvSpPr>
          <p:spPr>
            <a:xfrm>
              <a:off x="5225700" y="1336738"/>
              <a:ext cx="1607153" cy="1825942"/>
            </a:xfrm>
            <a:custGeom>
              <a:avLst/>
              <a:gdLst>
                <a:gd name="connsiteX0" fmla="*/ 157163 w 1607153"/>
                <a:gd name="connsiteY0" fmla="*/ 741712 h 1825942"/>
                <a:gd name="connsiteX1" fmla="*/ 499586 w 1607153"/>
                <a:gd name="connsiteY1" fmla="*/ 0 h 1825942"/>
                <a:gd name="connsiteX2" fmla="*/ 0 w 1607153"/>
                <a:gd name="connsiteY2" fmla="*/ 851154 h 1825942"/>
                <a:gd name="connsiteX3" fmla="*/ 974788 w 1607153"/>
                <a:gd name="connsiteY3" fmla="*/ 1825942 h 1825942"/>
                <a:gd name="connsiteX4" fmla="*/ 1607153 w 1607153"/>
                <a:gd name="connsiteY4" fmla="*/ 1592961 h 1825942"/>
                <a:gd name="connsiteX5" fmla="*/ 1131951 w 1607153"/>
                <a:gd name="connsiteY5" fmla="*/ 1716500 h 1825942"/>
                <a:gd name="connsiteX6" fmla="*/ 157163 w 1607153"/>
                <a:gd name="connsiteY6" fmla="*/ 741712 h 18259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607153" h="1825942">
                  <a:moveTo>
                    <a:pt x="157163" y="741712"/>
                  </a:moveTo>
                  <a:cubicBezTo>
                    <a:pt x="157163" y="444722"/>
                    <a:pt x="290036" y="178784"/>
                    <a:pt x="499586" y="0"/>
                  </a:cubicBezTo>
                  <a:cubicBezTo>
                    <a:pt x="201549" y="166783"/>
                    <a:pt x="0" y="485394"/>
                    <a:pt x="0" y="851154"/>
                  </a:cubicBezTo>
                  <a:cubicBezTo>
                    <a:pt x="0" y="1389507"/>
                    <a:pt x="436436" y="1825942"/>
                    <a:pt x="974788" y="1825942"/>
                  </a:cubicBezTo>
                  <a:cubicBezTo>
                    <a:pt x="1216152" y="1825942"/>
                    <a:pt x="1436941" y="1738217"/>
                    <a:pt x="1607153" y="1592961"/>
                  </a:cubicBezTo>
                  <a:cubicBezTo>
                    <a:pt x="1466564" y="1671638"/>
                    <a:pt x="1304449" y="1716500"/>
                    <a:pt x="1131951" y="1716500"/>
                  </a:cubicBezTo>
                  <a:cubicBezTo>
                    <a:pt x="593598" y="1716405"/>
                    <a:pt x="157163" y="1280065"/>
                    <a:pt x="157163" y="741712"/>
                  </a:cubicBezTo>
                  <a:close/>
                </a:path>
              </a:pathLst>
            </a:custGeom>
            <a:solidFill>
              <a:srgbClr val="773020">
                <a:alpha val="20000"/>
              </a:srgbClr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zh-CN" altLang="en-US"/>
            </a:p>
          </p:txBody>
        </p:sp>
      </p:grpSp>
      <p:sp>
        <p:nvSpPr>
          <p:cNvPr id="3" name="文本框 2"/>
          <p:cNvSpPr txBox="1"/>
          <p:nvPr/>
        </p:nvSpPr>
        <p:spPr>
          <a:xfrm>
            <a:off x="3330597" y="2361505"/>
            <a:ext cx="5384800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dirty="0" smtClean="0"/>
              <a:t>        这</a:t>
            </a:r>
            <a:r>
              <a:rPr lang="zh-CN" altLang="en-US" dirty="0"/>
              <a:t>是我第一次参加竞选文娱部干事，没有什么经验，这对我是一</a:t>
            </a:r>
            <a:r>
              <a:rPr lang="zh-CN" altLang="en-US" dirty="0" smtClean="0"/>
              <a:t>个挑战</a:t>
            </a:r>
            <a:r>
              <a:rPr lang="zh-CN" altLang="en-US" dirty="0"/>
              <a:t>，但也是我成长的</a:t>
            </a:r>
            <a:r>
              <a:rPr lang="zh-CN" altLang="en-US" dirty="0" smtClean="0"/>
              <a:t>机会。      我</a:t>
            </a:r>
            <a:r>
              <a:rPr lang="zh-CN" altLang="en-US" dirty="0"/>
              <a:t>会努力做到</a:t>
            </a:r>
            <a:r>
              <a:rPr lang="zh-CN" altLang="en-US" dirty="0" smtClean="0"/>
              <a:t>最好，希望</a:t>
            </a:r>
            <a:r>
              <a:rPr lang="zh-CN" altLang="en-US" dirty="0"/>
              <a:t>大家给我这个机会，请投我一票。</a:t>
            </a:r>
            <a:endParaRPr lang="zh-CN" altLang="en-US" dirty="0"/>
          </a:p>
        </p:txBody>
      </p:sp>
      <p:sp>
        <p:nvSpPr>
          <p:cNvPr id="4" name="文本框 3"/>
          <p:cNvSpPr txBox="1"/>
          <p:nvPr/>
        </p:nvSpPr>
        <p:spPr>
          <a:xfrm>
            <a:off x="3771773" y="1386444"/>
            <a:ext cx="282831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400" b="1" dirty="0" smtClean="0">
                <a:solidFill>
                  <a:srgbClr val="637B36"/>
                </a:solidFill>
                <a:latin typeface="+mj-ea"/>
                <a:ea typeface="+mj-ea"/>
              </a:rPr>
              <a:t>我要竞选文娱干事</a:t>
            </a:r>
            <a:endParaRPr lang="zh-CN" altLang="en-US" sz="2400" b="1" dirty="0">
              <a:solidFill>
                <a:srgbClr val="637B36"/>
              </a:solidFill>
              <a:latin typeface="+mj-ea"/>
              <a:ea typeface="+mj-ea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53499928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#337944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THEME" val="https://www.islide.cc;"/>
</p:tagLst>
</file>

<file path=ppt/theme/theme1.xml><?xml version="1.0" encoding="utf-8"?>
<a:theme xmlns:a="http://schemas.openxmlformats.org/drawingml/2006/main" name="主题5">
  <a:themeElements>
    <a:clrScheme name="这个这个这个">
      <a:dk1>
        <a:srgbClr val="000000"/>
      </a:dk1>
      <a:lt1>
        <a:srgbClr val="FFFFFF"/>
      </a:lt1>
      <a:dk2>
        <a:srgbClr val="768394"/>
      </a:dk2>
      <a:lt2>
        <a:srgbClr val="F0F0F0"/>
      </a:lt2>
      <a:accent1>
        <a:srgbClr val="CC3D3F"/>
      </a:accent1>
      <a:accent2>
        <a:srgbClr val="88A54A"/>
      </a:accent2>
      <a:accent3>
        <a:srgbClr val="637B36"/>
      </a:accent3>
      <a:accent4>
        <a:srgbClr val="A95434"/>
      </a:accent4>
      <a:accent5>
        <a:srgbClr val="CD3C4C"/>
      </a:accent5>
      <a:accent6>
        <a:srgbClr val="768394"/>
      </a:accent6>
      <a:hlink>
        <a:srgbClr val="4276AA"/>
      </a:hlink>
      <a:folHlink>
        <a:srgbClr val="BFBFBF"/>
      </a:folHlink>
    </a:clrScheme>
    <a:fontScheme name="Temp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主题5" id="{B8EDB911-D765-4A7B-BBC7-40DBB672FBA6}" vid="{AECAB1C0-5DF6-436C-85E8-20094DBE11C0}"/>
    </a:ext>
  </a:extLst>
</a:theme>
</file>

<file path=ppt/theme/theme2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这个这个这个">
    <a:dk1>
      <a:srgbClr val="000000"/>
    </a:dk1>
    <a:lt1>
      <a:srgbClr val="FFFFFF"/>
    </a:lt1>
    <a:dk2>
      <a:srgbClr val="768394"/>
    </a:dk2>
    <a:lt2>
      <a:srgbClr val="F0F0F0"/>
    </a:lt2>
    <a:accent1>
      <a:srgbClr val="CC3D3F"/>
    </a:accent1>
    <a:accent2>
      <a:srgbClr val="88A54A"/>
    </a:accent2>
    <a:accent3>
      <a:srgbClr val="637B36"/>
    </a:accent3>
    <a:accent4>
      <a:srgbClr val="A95434"/>
    </a:accent4>
    <a:accent5>
      <a:srgbClr val="CD3C4C"/>
    </a:accent5>
    <a:accent6>
      <a:srgbClr val="768394"/>
    </a:accent6>
    <a:hlink>
      <a:srgbClr val="4276AA"/>
    </a:hlink>
    <a:folHlink>
      <a:srgbClr val="BFBFBF"/>
    </a:folHlink>
  </a:clrScheme>
</a:themeOverride>
</file>

<file path=ppt/theme/themeOverride2.xml><?xml version="1.0" encoding="utf-8"?>
<a:themeOverride xmlns:a="http://schemas.openxmlformats.org/drawingml/2006/main">
  <a:clrScheme name="这个这个这个">
    <a:dk1>
      <a:srgbClr val="000000"/>
    </a:dk1>
    <a:lt1>
      <a:srgbClr val="FFFFFF"/>
    </a:lt1>
    <a:dk2>
      <a:srgbClr val="768394"/>
    </a:dk2>
    <a:lt2>
      <a:srgbClr val="F0F0F0"/>
    </a:lt2>
    <a:accent1>
      <a:srgbClr val="CC3D3F"/>
    </a:accent1>
    <a:accent2>
      <a:srgbClr val="88A54A"/>
    </a:accent2>
    <a:accent3>
      <a:srgbClr val="637B36"/>
    </a:accent3>
    <a:accent4>
      <a:srgbClr val="A95434"/>
    </a:accent4>
    <a:accent5>
      <a:srgbClr val="CD3C4C"/>
    </a:accent5>
    <a:accent6>
      <a:srgbClr val="768394"/>
    </a:accent6>
    <a:hlink>
      <a:srgbClr val="4276AA"/>
    </a:hlink>
    <a:folHlink>
      <a:srgbClr val="BFBFBF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iSlide</Template>
  <TotalTime>633</TotalTime>
  <Words>205</Words>
  <Application>Microsoft Office PowerPoint</Application>
  <PresentationFormat>宽屏</PresentationFormat>
  <Paragraphs>19</Paragraphs>
  <Slides>4</Slides>
  <Notes>0</Notes>
  <HiddenSlides>0</HiddenSlides>
  <MMClips>0</MMClips>
  <ScaleCrop>false</ScaleCrop>
  <HeadingPairs>
    <vt:vector size="8" baseType="variant">
      <vt:variant>
        <vt:lpstr>已用的字体</vt:lpstr>
      </vt:variant>
      <vt:variant>
        <vt:i4>6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4</vt:i4>
      </vt:variant>
    </vt:vector>
  </HeadingPairs>
  <TitlesOfParts>
    <vt:vector size="12" baseType="lpstr">
      <vt:lpstr>等线</vt:lpstr>
      <vt:lpstr>方正粗黑宋简体</vt:lpstr>
      <vt:lpstr>宋体</vt:lpstr>
      <vt:lpstr>微软雅黑</vt:lpstr>
      <vt:lpstr>Arial</vt:lpstr>
      <vt:lpstr>Calibri</vt:lpstr>
      <vt:lpstr>主题5</vt:lpstr>
      <vt:lpstr>think-cell Slide</vt:lpstr>
      <vt:lpstr>PowerPoint 演示文稿</vt:lpstr>
      <vt:lpstr>PowerPoint 演示文稿</vt:lpstr>
      <vt:lpstr>PowerPoint 演示文稿</vt:lpstr>
      <vt:lpstr>PowerPoint 演示文稿</vt:lpstr>
    </vt:vector>
  </TitlesOfParts>
  <Manager>iSlide</Manager>
  <Company>iSlide</Company>
  <LinksUpToDate>false</LinksUpToDate>
  <SharedDoc>false</SharedDoc>
  <HyperlinkBase>https://www.islide.cc</HyperlinkBase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iSlide</dc:creator>
  <cp:lastModifiedBy>Zhao Hong MTCT</cp:lastModifiedBy>
  <cp:revision>103</cp:revision>
  <cp:lastPrinted>2017-11-14T16:00:00Z</cp:lastPrinted>
  <dcterms:created xsi:type="dcterms:W3CDTF">2017-11-14T16:00:00Z</dcterms:created>
  <dcterms:modified xsi:type="dcterms:W3CDTF">2021-09-25T10:09:4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Slide.Theme">
    <vt:lpwstr>48706f29-9ca0-418e-876d-de7b156ca083</vt:lpwstr>
  </property>
  <property fmtid="{D5CDD505-2E9C-101B-9397-08002B2CF9AE}" pid="3" name="MSIP_Label_af615ef3-aa90-4fa2-9d66-c4f70f9fc413_Enabled">
    <vt:lpwstr>true</vt:lpwstr>
  </property>
  <property fmtid="{D5CDD505-2E9C-101B-9397-08002B2CF9AE}" pid="4" name="MSIP_Label_af615ef3-aa90-4fa2-9d66-c4f70f9fc413_SetDate">
    <vt:lpwstr>2021-09-25T10:04:01Z</vt:lpwstr>
  </property>
  <property fmtid="{D5CDD505-2E9C-101B-9397-08002B2CF9AE}" pid="5" name="MSIP_Label_af615ef3-aa90-4fa2-9d66-c4f70f9fc413_Method">
    <vt:lpwstr>Standard</vt:lpwstr>
  </property>
  <property fmtid="{D5CDD505-2E9C-101B-9397-08002B2CF9AE}" pid="6" name="MSIP_Label_af615ef3-aa90-4fa2-9d66-c4f70f9fc413_Name">
    <vt:lpwstr>Confidential</vt:lpwstr>
  </property>
  <property fmtid="{D5CDD505-2E9C-101B-9397-08002B2CF9AE}" pid="7" name="MSIP_Label_af615ef3-aa90-4fa2-9d66-c4f70f9fc413_SiteId">
    <vt:lpwstr>fb4c0aee-6cd2-482f-a1a5-717e7c02496b</vt:lpwstr>
  </property>
  <property fmtid="{D5CDD505-2E9C-101B-9397-08002B2CF9AE}" pid="8" name="MSIP_Label_af615ef3-aa90-4fa2-9d66-c4f70f9fc413_ActionId">
    <vt:lpwstr>09d81b9a-b1e4-44ce-8bc2-e560a3ebca46</vt:lpwstr>
  </property>
  <property fmtid="{D5CDD505-2E9C-101B-9397-08002B2CF9AE}" pid="9" name="MSIP_Label_af615ef3-aa90-4fa2-9d66-c4f70f9fc413_ContentBits">
    <vt:lpwstr>0</vt:lpwstr>
  </property>
</Properties>
</file>